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mp4" ContentType="video/mp4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8"/>
  </p:notesMasterIdLst>
  <p:sldIdLst>
    <p:sldId id="2147476104" r:id="rId2"/>
    <p:sldId id="2147476103" r:id="rId3"/>
    <p:sldId id="2147476038" r:id="rId4"/>
    <p:sldId id="2147476101" r:id="rId5"/>
    <p:sldId id="2147476106" r:id="rId6"/>
    <p:sldId id="2147476105" r:id="rId7"/>
  </p:sldIdLst>
  <p:sldSz cx="12192000" cy="6858000"/>
  <p:notesSz cx="6858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98368EE-9062-492E-931B-7CBAE703C9EE}" v="49" dt="2026-02-19T14:42:10.724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02" d="100"/>
          <a:sy n="102" d="100"/>
        </p:scale>
        <p:origin x="1758" y="11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microsoft.com/office/2015/10/relationships/revisionInfo" Target="revisionInfo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2778653-1778-43A1-9F30-7C753F8C9007}" type="datetimeFigureOut">
              <a:rPr lang="fr-FR" smtClean="0"/>
              <a:t>04/03/2026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Espace réservé des not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28E92D0-55B9-4A57-AD3A-A8E49F07F74C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81111838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5CB3271-EE90-5C51-E6D6-B6AD482FB28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>
            <a:extLst>
              <a:ext uri="{FF2B5EF4-FFF2-40B4-BE49-F238E27FC236}">
                <a16:creationId xmlns:a16="http://schemas.microsoft.com/office/drawing/2014/main" id="{81F63704-6155-72C2-3B4E-6E6F53DB605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>
            <a:extLst>
              <a:ext uri="{FF2B5EF4-FFF2-40B4-BE49-F238E27FC236}">
                <a16:creationId xmlns:a16="http://schemas.microsoft.com/office/drawing/2014/main" id="{F15332BA-188F-F842-865D-90CE13F5AD6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54258335-693C-365B-639F-D4DBFD678BF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3A3843-C7E5-40CE-8F9F-5FEA47768B57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3178739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EB167C7-402B-F7C7-D427-E629299588C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>
            <a:extLst>
              <a:ext uri="{FF2B5EF4-FFF2-40B4-BE49-F238E27FC236}">
                <a16:creationId xmlns:a16="http://schemas.microsoft.com/office/drawing/2014/main" id="{BAE5BB82-F628-645E-72DD-E6260C0CA12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>
            <a:extLst>
              <a:ext uri="{FF2B5EF4-FFF2-40B4-BE49-F238E27FC236}">
                <a16:creationId xmlns:a16="http://schemas.microsoft.com/office/drawing/2014/main" id="{D415DA10-CD2B-EC28-E9D2-0DCCC6B3364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/>
              <a:t>TOUS LES SPORTS SUR TOUS LES SUPPORTS,</a:t>
            </a:r>
          </a:p>
          <a:p>
            <a:r>
              <a:rPr lang="fr-FR" dirty="0"/>
              <a:t>3 docs, 3 digital, clinique des sports</a:t>
            </a:r>
          </a:p>
          <a:p>
            <a:r>
              <a:rPr lang="fr-FR" dirty="0"/>
              <a:t>Une pour toutes</a:t>
            </a:r>
          </a:p>
          <a:p>
            <a:r>
              <a:rPr lang="fr-FR" dirty="0"/>
              <a:t>Antennes, app canal, tous les supports, dès </a:t>
            </a:r>
            <a:r>
              <a:rPr lang="fr-FR" dirty="0" err="1"/>
              <a:t>ajd</a:t>
            </a:r>
            <a:r>
              <a:rPr lang="fr-FR" dirty="0"/>
              <a:t> les abonnés de 2035</a:t>
            </a:r>
            <a:br>
              <a:rPr lang="fr-FR" dirty="0"/>
            </a:br>
            <a:endParaRPr lang="fr-FR" dirty="0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0EE2E4A7-7AE7-6849-44E1-6137A287263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3A3843-C7E5-40CE-8F9F-5FEA47768B57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4362070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3E8D6D2-76C2-3A49-AC26-A522B411AA5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>
            <a:extLst>
              <a:ext uri="{FF2B5EF4-FFF2-40B4-BE49-F238E27FC236}">
                <a16:creationId xmlns:a16="http://schemas.microsoft.com/office/drawing/2014/main" id="{8437CC27-3703-43F8-3E0A-96FBA3C0C75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>
            <a:extLst>
              <a:ext uri="{FF2B5EF4-FFF2-40B4-BE49-F238E27FC236}">
                <a16:creationId xmlns:a16="http://schemas.microsoft.com/office/drawing/2014/main" id="{8B9DF6AC-3A2F-5B3F-1E1F-BA4C4EF4DA4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/>
              <a:t>Voir pour un prix digital</a:t>
            </a:r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2079ADC9-8A45-D1BE-2BAC-8C4B92BECDE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3A3843-C7E5-40CE-8F9F-5FEA47768B57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1489392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9.svg"/><Relationship Id="rId4" Type="http://schemas.openxmlformats.org/officeDocument/2006/relationships/image" Target="../media/image8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10.emf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uverture graphi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phique 3">
            <a:extLst>
              <a:ext uri="{FF2B5EF4-FFF2-40B4-BE49-F238E27FC236}">
                <a16:creationId xmlns:a16="http://schemas.microsoft.com/office/drawing/2014/main" id="{F5711036-5D8F-8384-2652-F337950E73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19" r="19"/>
          <a:stretch/>
        </p:blipFill>
        <p:spPr>
          <a:xfrm>
            <a:off x="200129" y="266990"/>
            <a:ext cx="3463883" cy="3463362"/>
          </a:xfrm>
          <a:prstGeom prst="rect">
            <a:avLst/>
          </a:prstGeom>
        </p:spPr>
      </p:pic>
      <p:sp>
        <p:nvSpPr>
          <p:cNvPr id="22" name="Titre 20">
            <a:extLst>
              <a:ext uri="{FF2B5EF4-FFF2-40B4-BE49-F238E27FC236}">
                <a16:creationId xmlns:a16="http://schemas.microsoft.com/office/drawing/2014/main" id="{A6808D5A-C345-0F65-8E0C-5FEB002909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8617" y="2044006"/>
            <a:ext cx="6434768" cy="2769989"/>
          </a:xfrm>
        </p:spPr>
        <p:txBody>
          <a:bodyPr anchor="ctr">
            <a:spAutoFit/>
          </a:bodyPr>
          <a:lstStyle>
            <a:lvl1pPr algn="l">
              <a:defRPr sz="5000" b="1">
                <a:solidFill>
                  <a:schemeClr val="bg2"/>
                </a:solidFill>
              </a:defRPr>
            </a:lvl1pPr>
          </a:lstStyle>
          <a:p>
            <a:r>
              <a:rPr lang="fr-FR"/>
              <a:t>titre de la présentation</a:t>
            </a:r>
            <a:br>
              <a:rPr lang="fr-FR"/>
            </a:br>
            <a:r>
              <a:rPr lang="fr-FR"/>
              <a:t>sur 4 lignes</a:t>
            </a:r>
            <a:br>
              <a:rPr lang="fr-FR"/>
            </a:br>
            <a:r>
              <a:rPr lang="fr-FR"/>
              <a:t>maximum</a:t>
            </a:r>
          </a:p>
        </p:txBody>
      </p:sp>
      <p:sp>
        <p:nvSpPr>
          <p:cNvPr id="21" name="Espace réservé du texte 20">
            <a:extLst>
              <a:ext uri="{FF2B5EF4-FFF2-40B4-BE49-F238E27FC236}">
                <a16:creationId xmlns:a16="http://schemas.microsoft.com/office/drawing/2014/main" id="{2E2050E4-89AD-DA92-4834-A53DBBE837C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58328" y="626719"/>
            <a:ext cx="2778157" cy="500963"/>
          </a:xfrm>
          <a:custGeom>
            <a:avLst/>
            <a:gdLst>
              <a:gd name="connsiteX0" fmla="*/ 1358951 w 5553421"/>
              <a:gd name="connsiteY0" fmla="*/ 307044 h 1001926"/>
              <a:gd name="connsiteX1" fmla="*/ 1358951 w 5553421"/>
              <a:gd name="connsiteY1" fmla="*/ 307044 h 1001926"/>
              <a:gd name="connsiteX2" fmla="*/ 1358951 w 5553421"/>
              <a:gd name="connsiteY2" fmla="*/ 307044 h 1001926"/>
              <a:gd name="connsiteX3" fmla="*/ 1358951 w 5553421"/>
              <a:gd name="connsiteY3" fmla="*/ 307044 h 1001926"/>
              <a:gd name="connsiteX4" fmla="*/ 1359188 w 5553421"/>
              <a:gd name="connsiteY4" fmla="*/ 306820 h 1001926"/>
              <a:gd name="connsiteX5" fmla="*/ 1358914 w 5553421"/>
              <a:gd name="connsiteY5" fmla="*/ 306957 h 1001926"/>
              <a:gd name="connsiteX6" fmla="*/ 1358951 w 5553421"/>
              <a:gd name="connsiteY6" fmla="*/ 307044 h 1001926"/>
              <a:gd name="connsiteX7" fmla="*/ 1356441 w 5553421"/>
              <a:gd name="connsiteY7" fmla="*/ 309418 h 1001926"/>
              <a:gd name="connsiteX8" fmla="*/ 1229252 w 5553421"/>
              <a:gd name="connsiteY8" fmla="*/ 598050 h 1001926"/>
              <a:gd name="connsiteX9" fmla="*/ 1227604 w 5553421"/>
              <a:gd name="connsiteY9" fmla="*/ 604613 h 1001926"/>
              <a:gd name="connsiteX10" fmla="*/ 1235158 w 5553421"/>
              <a:gd name="connsiteY10" fmla="*/ 605980 h 1001926"/>
              <a:gd name="connsiteX11" fmla="*/ 1420397 w 5553421"/>
              <a:gd name="connsiteY11" fmla="*/ 607329 h 1001926"/>
              <a:gd name="connsiteX12" fmla="*/ 1422921 w 5553421"/>
              <a:gd name="connsiteY12" fmla="*/ 607347 h 1001926"/>
              <a:gd name="connsiteX13" fmla="*/ 1422921 w 5553421"/>
              <a:gd name="connsiteY13" fmla="*/ 607347 h 1001926"/>
              <a:gd name="connsiteX14" fmla="*/ 1422921 w 5553421"/>
              <a:gd name="connsiteY14" fmla="*/ 607347 h 1001926"/>
              <a:gd name="connsiteX15" fmla="*/ 1425256 w 5553421"/>
              <a:gd name="connsiteY15" fmla="*/ 605980 h 1001926"/>
              <a:gd name="connsiteX16" fmla="*/ 1425256 w 5553421"/>
              <a:gd name="connsiteY16" fmla="*/ 600921 h 1001926"/>
              <a:gd name="connsiteX17" fmla="*/ 1360013 w 5553421"/>
              <a:gd name="connsiteY17" fmla="*/ 309555 h 1001926"/>
              <a:gd name="connsiteX18" fmla="*/ 1358951 w 5553421"/>
              <a:gd name="connsiteY18" fmla="*/ 307044 h 1001926"/>
              <a:gd name="connsiteX19" fmla="*/ 3480067 w 5553421"/>
              <a:gd name="connsiteY19" fmla="*/ 303402 h 1001926"/>
              <a:gd name="connsiteX20" fmla="*/ 3477869 w 5553421"/>
              <a:gd name="connsiteY20" fmla="*/ 308051 h 1001926"/>
              <a:gd name="connsiteX21" fmla="*/ 3350130 w 5553421"/>
              <a:gd name="connsiteY21" fmla="*/ 595862 h 1001926"/>
              <a:gd name="connsiteX22" fmla="*/ 3348276 w 5553421"/>
              <a:gd name="connsiteY22" fmla="*/ 604203 h 1001926"/>
              <a:gd name="connsiteX23" fmla="*/ 3348276 w 5553421"/>
              <a:gd name="connsiteY23" fmla="*/ 604203 h 1001926"/>
              <a:gd name="connsiteX24" fmla="*/ 3348276 w 5553421"/>
              <a:gd name="connsiteY24" fmla="*/ 604203 h 1001926"/>
              <a:gd name="connsiteX25" fmla="*/ 3348482 w 5553421"/>
              <a:gd name="connsiteY25" fmla="*/ 605980 h 1001926"/>
              <a:gd name="connsiteX26" fmla="*/ 3355350 w 5553421"/>
              <a:gd name="connsiteY26" fmla="*/ 608305 h 1001926"/>
              <a:gd name="connsiteX27" fmla="*/ 3544348 w 5553421"/>
              <a:gd name="connsiteY27" fmla="*/ 607347 h 1001926"/>
              <a:gd name="connsiteX28" fmla="*/ 3546958 w 5553421"/>
              <a:gd name="connsiteY28" fmla="*/ 607347 h 1001926"/>
              <a:gd name="connsiteX29" fmla="*/ 3546958 w 5553421"/>
              <a:gd name="connsiteY29" fmla="*/ 602152 h 1001926"/>
              <a:gd name="connsiteX30" fmla="*/ 3482814 w 5553421"/>
              <a:gd name="connsiteY30" fmla="*/ 306957 h 1001926"/>
              <a:gd name="connsiteX31" fmla="*/ 3480204 w 5553421"/>
              <a:gd name="connsiteY31" fmla="*/ 303539 h 1001926"/>
              <a:gd name="connsiteX32" fmla="*/ 2001729 w 5553421"/>
              <a:gd name="connsiteY32" fmla="*/ 38561 h 1001926"/>
              <a:gd name="connsiteX33" fmla="*/ 2261328 w 5553421"/>
              <a:gd name="connsiteY33" fmla="*/ 38561 h 1001926"/>
              <a:gd name="connsiteX34" fmla="*/ 2267646 w 5553421"/>
              <a:gd name="connsiteY34" fmla="*/ 41296 h 1001926"/>
              <a:gd name="connsiteX35" fmla="*/ 2271354 w 5553421"/>
              <a:gd name="connsiteY35" fmla="*/ 46491 h 1001926"/>
              <a:gd name="connsiteX36" fmla="*/ 2564055 w 5553421"/>
              <a:gd name="connsiteY36" fmla="*/ 557305 h 1001926"/>
              <a:gd name="connsiteX37" fmla="*/ 2572846 w 5553421"/>
              <a:gd name="connsiteY37" fmla="*/ 566329 h 1001926"/>
              <a:gd name="connsiteX38" fmla="*/ 2579439 w 5553421"/>
              <a:gd name="connsiteY38" fmla="*/ 554981 h 1001926"/>
              <a:gd name="connsiteX39" fmla="*/ 2653472 w 5553421"/>
              <a:gd name="connsiteY39" fmla="*/ 46491 h 1001926"/>
              <a:gd name="connsiteX40" fmla="*/ 2656082 w 5553421"/>
              <a:gd name="connsiteY40" fmla="*/ 41296 h 1001926"/>
              <a:gd name="connsiteX41" fmla="*/ 2661164 w 5553421"/>
              <a:gd name="connsiteY41" fmla="*/ 38561 h 1001926"/>
              <a:gd name="connsiteX42" fmla="*/ 2905379 w 5553421"/>
              <a:gd name="connsiteY42" fmla="*/ 41296 h 1001926"/>
              <a:gd name="connsiteX43" fmla="*/ 2911697 w 5553421"/>
              <a:gd name="connsiteY43" fmla="*/ 42390 h 1001926"/>
              <a:gd name="connsiteX44" fmla="*/ 2912796 w 5553421"/>
              <a:gd name="connsiteY44" fmla="*/ 46491 h 1001926"/>
              <a:gd name="connsiteX45" fmla="*/ 2781349 w 5553421"/>
              <a:gd name="connsiteY45" fmla="*/ 965710 h 1001926"/>
              <a:gd name="connsiteX46" fmla="*/ 2777503 w 5553421"/>
              <a:gd name="connsiteY46" fmla="*/ 974324 h 1001926"/>
              <a:gd name="connsiteX47" fmla="*/ 2769674 w 5553421"/>
              <a:gd name="connsiteY47" fmla="*/ 975965 h 1001926"/>
              <a:gd name="connsiteX48" fmla="*/ 2769811 w 5553421"/>
              <a:gd name="connsiteY48" fmla="*/ 975828 h 1001926"/>
              <a:gd name="connsiteX49" fmla="*/ 2528343 w 5553421"/>
              <a:gd name="connsiteY49" fmla="*/ 975828 h 1001926"/>
              <a:gd name="connsiteX50" fmla="*/ 2525871 w 5553421"/>
              <a:gd name="connsiteY50" fmla="*/ 973230 h 1001926"/>
              <a:gd name="connsiteX51" fmla="*/ 2270801 w 5553421"/>
              <a:gd name="connsiteY51" fmla="*/ 522580 h 1001926"/>
              <a:gd name="connsiteX52" fmla="*/ 2201304 w 5553421"/>
              <a:gd name="connsiteY52" fmla="*/ 399795 h 1001926"/>
              <a:gd name="connsiteX53" fmla="*/ 2199752 w 5553421"/>
              <a:gd name="connsiteY53" fmla="*/ 398691 h 1001926"/>
              <a:gd name="connsiteX54" fmla="*/ 2197458 w 5553421"/>
              <a:gd name="connsiteY54" fmla="*/ 397061 h 1001926"/>
              <a:gd name="connsiteX55" fmla="*/ 2197458 w 5553421"/>
              <a:gd name="connsiteY55" fmla="*/ 397061 h 1001926"/>
              <a:gd name="connsiteX56" fmla="*/ 2197458 w 5553421"/>
              <a:gd name="connsiteY56" fmla="*/ 397061 h 1001926"/>
              <a:gd name="connsiteX57" fmla="*/ 2194986 w 5553421"/>
              <a:gd name="connsiteY57" fmla="*/ 400889 h 1001926"/>
              <a:gd name="connsiteX58" fmla="*/ 2114634 w 5553421"/>
              <a:gd name="connsiteY58" fmla="*/ 964343 h 1001926"/>
              <a:gd name="connsiteX59" fmla="*/ 2111887 w 5553421"/>
              <a:gd name="connsiteY59" fmla="*/ 972136 h 1001926"/>
              <a:gd name="connsiteX60" fmla="*/ 2105431 w 5553421"/>
              <a:gd name="connsiteY60" fmla="*/ 973230 h 1001926"/>
              <a:gd name="connsiteX61" fmla="*/ 1872617 w 5553421"/>
              <a:gd name="connsiteY61" fmla="*/ 973230 h 1001926"/>
              <a:gd name="connsiteX62" fmla="*/ 1866573 w 5553421"/>
              <a:gd name="connsiteY62" fmla="*/ 970769 h 1001926"/>
              <a:gd name="connsiteX63" fmla="*/ 1862315 w 5553421"/>
              <a:gd name="connsiteY63" fmla="*/ 960651 h 1001926"/>
              <a:gd name="connsiteX64" fmla="*/ 1990329 w 5553421"/>
              <a:gd name="connsiteY64" fmla="*/ 48952 h 1001926"/>
              <a:gd name="connsiteX65" fmla="*/ 1994037 w 5553421"/>
              <a:gd name="connsiteY65" fmla="*/ 42390 h 1001926"/>
              <a:gd name="connsiteX66" fmla="*/ 2001729 w 5553421"/>
              <a:gd name="connsiteY66" fmla="*/ 38561 h 1001926"/>
              <a:gd name="connsiteX67" fmla="*/ 1243949 w 5553421"/>
              <a:gd name="connsiteY67" fmla="*/ 37467 h 1001926"/>
              <a:gd name="connsiteX68" fmla="*/ 1545715 w 5553421"/>
              <a:gd name="connsiteY68" fmla="*/ 37467 h 1001926"/>
              <a:gd name="connsiteX69" fmla="*/ 1554368 w 5553421"/>
              <a:gd name="connsiteY69" fmla="*/ 41432 h 1001926"/>
              <a:gd name="connsiteX70" fmla="*/ 1556978 w 5553421"/>
              <a:gd name="connsiteY70" fmla="*/ 46628 h 1001926"/>
              <a:gd name="connsiteX71" fmla="*/ 1753806 w 5553421"/>
              <a:gd name="connsiteY71" fmla="*/ 966941 h 1001926"/>
              <a:gd name="connsiteX72" fmla="*/ 1751196 w 5553421"/>
              <a:gd name="connsiteY72" fmla="*/ 972410 h 1001926"/>
              <a:gd name="connsiteX73" fmla="*/ 1747487 w 5553421"/>
              <a:gd name="connsiteY73" fmla="*/ 973504 h 1001926"/>
              <a:gd name="connsiteX74" fmla="*/ 1747625 w 5553421"/>
              <a:gd name="connsiteY74" fmla="*/ 973230 h 1001926"/>
              <a:gd name="connsiteX75" fmla="*/ 1520167 w 5553421"/>
              <a:gd name="connsiteY75" fmla="*/ 974187 h 1001926"/>
              <a:gd name="connsiteX76" fmla="*/ 1510964 w 5553421"/>
              <a:gd name="connsiteY76" fmla="*/ 972136 h 1001926"/>
              <a:gd name="connsiteX77" fmla="*/ 1508629 w 5553421"/>
              <a:gd name="connsiteY77" fmla="*/ 961745 h 1001926"/>
              <a:gd name="connsiteX78" fmla="*/ 1472780 w 5553421"/>
              <a:gd name="connsiteY78" fmla="*/ 815447 h 1001926"/>
              <a:gd name="connsiteX79" fmla="*/ 1470308 w 5553421"/>
              <a:gd name="connsiteY79" fmla="*/ 810388 h 1001926"/>
              <a:gd name="connsiteX80" fmla="*/ 1470308 w 5553421"/>
              <a:gd name="connsiteY80" fmla="*/ 810388 h 1001926"/>
              <a:gd name="connsiteX81" fmla="*/ 1146016 w 5553421"/>
              <a:gd name="connsiteY81" fmla="*/ 810388 h 1001926"/>
              <a:gd name="connsiteX82" fmla="*/ 1135714 w 5553421"/>
              <a:gd name="connsiteY82" fmla="*/ 815447 h 1001926"/>
              <a:gd name="connsiteX83" fmla="*/ 1126511 w 5553421"/>
              <a:gd name="connsiteY83" fmla="*/ 828299 h 1001926"/>
              <a:gd name="connsiteX84" fmla="*/ 1062779 w 5553421"/>
              <a:gd name="connsiteY84" fmla="*/ 964343 h 1001926"/>
              <a:gd name="connsiteX85" fmla="*/ 1058796 w 5553421"/>
              <a:gd name="connsiteY85" fmla="*/ 970769 h 1001926"/>
              <a:gd name="connsiteX86" fmla="*/ 1051242 w 5553421"/>
              <a:gd name="connsiteY86" fmla="*/ 973230 h 1001926"/>
              <a:gd name="connsiteX87" fmla="*/ 786424 w 5553421"/>
              <a:gd name="connsiteY87" fmla="*/ 973230 h 1001926"/>
              <a:gd name="connsiteX88" fmla="*/ 777770 w 5553421"/>
              <a:gd name="connsiteY88" fmla="*/ 970769 h 1001926"/>
              <a:gd name="connsiteX89" fmla="*/ 779006 w 5553421"/>
              <a:gd name="connsiteY89" fmla="*/ 961745 h 1001926"/>
              <a:gd name="connsiteX90" fmla="*/ 1237768 w 5553421"/>
              <a:gd name="connsiteY90" fmla="*/ 43757 h 1001926"/>
              <a:gd name="connsiteX91" fmla="*/ 1243949 w 5553421"/>
              <a:gd name="connsiteY91" fmla="*/ 37467 h 1001926"/>
              <a:gd name="connsiteX92" fmla="*/ 4112855 w 5553421"/>
              <a:gd name="connsiteY92" fmla="*/ 37331 h 1001926"/>
              <a:gd name="connsiteX93" fmla="*/ 4365724 w 5553421"/>
              <a:gd name="connsiteY93" fmla="*/ 37331 h 1001926"/>
              <a:gd name="connsiteX94" fmla="*/ 4374789 w 5553421"/>
              <a:gd name="connsiteY94" fmla="*/ 38561 h 1001926"/>
              <a:gd name="connsiteX95" fmla="*/ 4374789 w 5553421"/>
              <a:gd name="connsiteY95" fmla="*/ 47312 h 1001926"/>
              <a:gd name="connsiteX96" fmla="*/ 4276169 w 5553421"/>
              <a:gd name="connsiteY96" fmla="*/ 753509 h 1001926"/>
              <a:gd name="connsiteX97" fmla="*/ 4278779 w 5553421"/>
              <a:gd name="connsiteY97" fmla="*/ 761986 h 1001926"/>
              <a:gd name="connsiteX98" fmla="*/ 4291552 w 5553421"/>
              <a:gd name="connsiteY98" fmla="*/ 763490 h 1001926"/>
              <a:gd name="connsiteX99" fmla="*/ 4552387 w 5553421"/>
              <a:gd name="connsiteY99" fmla="*/ 763490 h 1001926"/>
              <a:gd name="connsiteX100" fmla="*/ 4560079 w 5553421"/>
              <a:gd name="connsiteY100" fmla="*/ 766088 h 1001926"/>
              <a:gd name="connsiteX101" fmla="*/ 4561590 w 5553421"/>
              <a:gd name="connsiteY101" fmla="*/ 773608 h 1001926"/>
              <a:gd name="connsiteX102" fmla="*/ 4535905 w 5553421"/>
              <a:gd name="connsiteY102" fmla="*/ 963249 h 1001926"/>
              <a:gd name="connsiteX103" fmla="*/ 4533295 w 5553421"/>
              <a:gd name="connsiteY103" fmla="*/ 973230 h 1001926"/>
              <a:gd name="connsiteX104" fmla="*/ 4525466 w 5553421"/>
              <a:gd name="connsiteY104" fmla="*/ 975828 h 1001926"/>
              <a:gd name="connsiteX105" fmla="*/ 3999127 w 5553421"/>
              <a:gd name="connsiteY105" fmla="*/ 975828 h 1001926"/>
              <a:gd name="connsiteX106" fmla="*/ 3979760 w 5553421"/>
              <a:gd name="connsiteY106" fmla="*/ 972136 h 1001926"/>
              <a:gd name="connsiteX107" fmla="*/ 3978661 w 5553421"/>
              <a:gd name="connsiteY107" fmla="*/ 955456 h 1001926"/>
              <a:gd name="connsiteX108" fmla="*/ 4109010 w 5553421"/>
              <a:gd name="connsiteY108" fmla="*/ 52644 h 1001926"/>
              <a:gd name="connsiteX109" fmla="*/ 4112855 w 5553421"/>
              <a:gd name="connsiteY109" fmla="*/ 37331 h 1001926"/>
              <a:gd name="connsiteX110" fmla="*/ 3376777 w 5553421"/>
              <a:gd name="connsiteY110" fmla="*/ 37331 h 1001926"/>
              <a:gd name="connsiteX111" fmla="*/ 3664258 w 5553421"/>
              <a:gd name="connsiteY111" fmla="*/ 37331 h 1001926"/>
              <a:gd name="connsiteX112" fmla="*/ 3674697 w 5553421"/>
              <a:gd name="connsiteY112" fmla="*/ 41296 h 1001926"/>
              <a:gd name="connsiteX113" fmla="*/ 3677170 w 5553421"/>
              <a:gd name="connsiteY113" fmla="*/ 46491 h 1001926"/>
              <a:gd name="connsiteX114" fmla="*/ 3869877 w 5553421"/>
              <a:gd name="connsiteY114" fmla="*/ 972136 h 1001926"/>
              <a:gd name="connsiteX115" fmla="*/ 3868778 w 5553421"/>
              <a:gd name="connsiteY115" fmla="*/ 975828 h 1001926"/>
              <a:gd name="connsiteX116" fmla="*/ 3864932 w 5553421"/>
              <a:gd name="connsiteY116" fmla="*/ 976785 h 1001926"/>
              <a:gd name="connsiteX117" fmla="*/ 3631018 w 5553421"/>
              <a:gd name="connsiteY117" fmla="*/ 976785 h 1001926"/>
              <a:gd name="connsiteX118" fmla="*/ 3621953 w 5553421"/>
              <a:gd name="connsiteY118" fmla="*/ 974050 h 1001926"/>
              <a:gd name="connsiteX119" fmla="*/ 3619481 w 5553421"/>
              <a:gd name="connsiteY119" fmla="*/ 965437 h 1001926"/>
              <a:gd name="connsiteX120" fmla="*/ 3588988 w 5553421"/>
              <a:gd name="connsiteY120" fmla="*/ 822146 h 1001926"/>
              <a:gd name="connsiteX121" fmla="*/ 3583906 w 5553421"/>
              <a:gd name="connsiteY121" fmla="*/ 810388 h 1001926"/>
              <a:gd name="connsiteX122" fmla="*/ 3569759 w 5553421"/>
              <a:gd name="connsiteY122" fmla="*/ 806696 h 1001926"/>
              <a:gd name="connsiteX123" fmla="*/ 3265520 w 5553421"/>
              <a:gd name="connsiteY123" fmla="*/ 806696 h 1001926"/>
              <a:gd name="connsiteX124" fmla="*/ 3255494 w 5553421"/>
              <a:gd name="connsiteY124" fmla="*/ 810388 h 1001926"/>
              <a:gd name="connsiteX125" fmla="*/ 3247664 w 5553421"/>
              <a:gd name="connsiteY125" fmla="*/ 823103 h 1001926"/>
              <a:gd name="connsiteX126" fmla="*/ 3178850 w 5553421"/>
              <a:gd name="connsiteY126" fmla="*/ 969128 h 1001926"/>
              <a:gd name="connsiteX127" fmla="*/ 3175004 w 5553421"/>
              <a:gd name="connsiteY127" fmla="*/ 974187 h 1001926"/>
              <a:gd name="connsiteX128" fmla="*/ 3167038 w 5553421"/>
              <a:gd name="connsiteY128" fmla="*/ 975828 h 1001926"/>
              <a:gd name="connsiteX129" fmla="*/ 2904005 w 5553421"/>
              <a:gd name="connsiteY129" fmla="*/ 975828 h 1001926"/>
              <a:gd name="connsiteX130" fmla="*/ 2895215 w 5553421"/>
              <a:gd name="connsiteY130" fmla="*/ 973230 h 1001926"/>
              <a:gd name="connsiteX131" fmla="*/ 2897825 w 5553421"/>
              <a:gd name="connsiteY131" fmla="*/ 965573 h 1001926"/>
              <a:gd name="connsiteX132" fmla="*/ 3361531 w 5553421"/>
              <a:gd name="connsiteY132" fmla="*/ 43757 h 1001926"/>
              <a:gd name="connsiteX133" fmla="*/ 3366476 w 5553421"/>
              <a:gd name="connsiteY133" fmla="*/ 38561 h 1001926"/>
              <a:gd name="connsiteX134" fmla="*/ 3376777 w 5553421"/>
              <a:gd name="connsiteY134" fmla="*/ 37331 h 1001926"/>
              <a:gd name="connsiteX135" fmla="*/ 4942334 w 5553421"/>
              <a:gd name="connsiteY135" fmla="*/ 18462 h 1001926"/>
              <a:gd name="connsiteX136" fmla="*/ 5196714 w 5553421"/>
              <a:gd name="connsiteY136" fmla="*/ 18462 h 1001926"/>
              <a:gd name="connsiteX137" fmla="*/ 5203306 w 5553421"/>
              <a:gd name="connsiteY137" fmla="*/ 19830 h 1001926"/>
              <a:gd name="connsiteX138" fmla="*/ 5205916 w 5553421"/>
              <a:gd name="connsiteY138" fmla="*/ 27350 h 1001926"/>
              <a:gd name="connsiteX139" fmla="*/ 5205916 w 5553421"/>
              <a:gd name="connsiteY139" fmla="*/ 332389 h 1001926"/>
              <a:gd name="connsiteX140" fmla="*/ 5537900 w 5553421"/>
              <a:gd name="connsiteY140" fmla="*/ 332389 h 1001926"/>
              <a:gd name="connsiteX141" fmla="*/ 5549300 w 5553421"/>
              <a:gd name="connsiteY141" fmla="*/ 333893 h 1001926"/>
              <a:gd name="connsiteX142" fmla="*/ 5553421 w 5553421"/>
              <a:gd name="connsiteY142" fmla="*/ 342643 h 1001926"/>
              <a:gd name="connsiteX143" fmla="*/ 5553421 w 5553421"/>
              <a:gd name="connsiteY143" fmla="*/ 599691 h 1001926"/>
              <a:gd name="connsiteX144" fmla="*/ 5549300 w 5553421"/>
              <a:gd name="connsiteY144" fmla="*/ 606117 h 1001926"/>
              <a:gd name="connsiteX145" fmla="*/ 5549163 w 5553421"/>
              <a:gd name="connsiteY145" fmla="*/ 605843 h 1001926"/>
              <a:gd name="connsiteX146" fmla="*/ 5544218 w 5553421"/>
              <a:gd name="connsiteY146" fmla="*/ 608168 h 1001926"/>
              <a:gd name="connsiteX147" fmla="*/ 5217042 w 5553421"/>
              <a:gd name="connsiteY147" fmla="*/ 608168 h 1001926"/>
              <a:gd name="connsiteX148" fmla="*/ 5209350 w 5553421"/>
              <a:gd name="connsiteY148" fmla="*/ 610766 h 1001926"/>
              <a:gd name="connsiteX149" fmla="*/ 5205916 w 5553421"/>
              <a:gd name="connsiteY149" fmla="*/ 618559 h 1001926"/>
              <a:gd name="connsiteX150" fmla="*/ 5205916 w 5553421"/>
              <a:gd name="connsiteY150" fmla="*/ 965573 h 1001926"/>
              <a:gd name="connsiteX151" fmla="*/ 5203306 w 5553421"/>
              <a:gd name="connsiteY151" fmla="*/ 972136 h 1001926"/>
              <a:gd name="connsiteX152" fmla="*/ 5197675 w 5553421"/>
              <a:gd name="connsiteY152" fmla="*/ 974187 h 1001926"/>
              <a:gd name="connsiteX153" fmla="*/ 4938488 w 5553421"/>
              <a:gd name="connsiteY153" fmla="*/ 974187 h 1001926"/>
              <a:gd name="connsiteX154" fmla="*/ 4932033 w 5553421"/>
              <a:gd name="connsiteY154" fmla="*/ 972136 h 1001926"/>
              <a:gd name="connsiteX155" fmla="*/ 4931072 w 5553421"/>
              <a:gd name="connsiteY155" fmla="*/ 964343 h 1001926"/>
              <a:gd name="connsiteX156" fmla="*/ 4931072 w 5553421"/>
              <a:gd name="connsiteY156" fmla="*/ 617329 h 1001926"/>
              <a:gd name="connsiteX157" fmla="*/ 4927225 w 5553421"/>
              <a:gd name="connsiteY157" fmla="*/ 610902 h 1001926"/>
              <a:gd name="connsiteX158" fmla="*/ 4922143 w 5553421"/>
              <a:gd name="connsiteY158" fmla="*/ 608305 h 1001926"/>
              <a:gd name="connsiteX159" fmla="*/ 4587138 w 5553421"/>
              <a:gd name="connsiteY159" fmla="*/ 608305 h 1001926"/>
              <a:gd name="connsiteX160" fmla="*/ 4579446 w 5553421"/>
              <a:gd name="connsiteY160" fmla="*/ 607347 h 1001926"/>
              <a:gd name="connsiteX161" fmla="*/ 4576836 w 5553421"/>
              <a:gd name="connsiteY161" fmla="*/ 596819 h 1001926"/>
              <a:gd name="connsiteX162" fmla="*/ 4576836 w 5553421"/>
              <a:gd name="connsiteY162" fmla="*/ 342643 h 1001926"/>
              <a:gd name="connsiteX163" fmla="*/ 4579446 w 5553421"/>
              <a:gd name="connsiteY163" fmla="*/ 336217 h 1001926"/>
              <a:gd name="connsiteX164" fmla="*/ 4583292 w 5553421"/>
              <a:gd name="connsiteY164" fmla="*/ 335260 h 1001926"/>
              <a:gd name="connsiteX165" fmla="*/ 4925715 w 5553421"/>
              <a:gd name="connsiteY165" fmla="*/ 335260 h 1001926"/>
              <a:gd name="connsiteX166" fmla="*/ 4928462 w 5553421"/>
              <a:gd name="connsiteY166" fmla="*/ 333893 h 1001926"/>
              <a:gd name="connsiteX167" fmla="*/ 4931072 w 5553421"/>
              <a:gd name="connsiteY167" fmla="*/ 329927 h 1001926"/>
              <a:gd name="connsiteX168" fmla="*/ 4931072 w 5553421"/>
              <a:gd name="connsiteY168" fmla="*/ 26119 h 1001926"/>
              <a:gd name="connsiteX169" fmla="*/ 4932033 w 5553421"/>
              <a:gd name="connsiteY169" fmla="*/ 19830 h 1001926"/>
              <a:gd name="connsiteX170" fmla="*/ 4942334 w 5553421"/>
              <a:gd name="connsiteY170" fmla="*/ 18462 h 1001926"/>
              <a:gd name="connsiteX171" fmla="*/ 540039 w 5553421"/>
              <a:gd name="connsiteY171" fmla="*/ 87 h 1001926"/>
              <a:gd name="connsiteX172" fmla="*/ 540041 w 5553421"/>
              <a:gd name="connsiteY172" fmla="*/ 88 h 1001926"/>
              <a:gd name="connsiteX173" fmla="*/ 621538 w 5553421"/>
              <a:gd name="connsiteY173" fmla="*/ 6958 h 1001926"/>
              <a:gd name="connsiteX174" fmla="*/ 643188 w 5553421"/>
              <a:gd name="connsiteY174" fmla="*/ 10572 h 1001926"/>
              <a:gd name="connsiteX175" fmla="*/ 680298 w 5553421"/>
              <a:gd name="connsiteY175" fmla="*/ 18334 h 1001926"/>
              <a:gd name="connsiteX176" fmla="*/ 744529 w 5553421"/>
              <a:gd name="connsiteY176" fmla="*/ 36100 h 1001926"/>
              <a:gd name="connsiteX177" fmla="*/ 744531 w 5553421"/>
              <a:gd name="connsiteY177" fmla="*/ 36100 h 1001926"/>
              <a:gd name="connsiteX178" fmla="*/ 775006 w 5553421"/>
              <a:gd name="connsiteY178" fmla="*/ 47619 h 1001926"/>
              <a:gd name="connsiteX179" fmla="*/ 790757 w 5553421"/>
              <a:gd name="connsiteY179" fmla="*/ 55757 h 1001926"/>
              <a:gd name="connsiteX180" fmla="*/ 834223 w 5553421"/>
              <a:gd name="connsiteY180" fmla="*/ 78212 h 1001926"/>
              <a:gd name="connsiteX181" fmla="*/ 843575 w 5553421"/>
              <a:gd name="connsiteY181" fmla="*/ 85510 h 1001926"/>
              <a:gd name="connsiteX182" fmla="*/ 852027 w 5553421"/>
              <a:gd name="connsiteY182" fmla="*/ 92107 h 1001926"/>
              <a:gd name="connsiteX183" fmla="*/ 855512 w 5553421"/>
              <a:gd name="connsiteY183" fmla="*/ 96260 h 1001926"/>
              <a:gd name="connsiteX184" fmla="*/ 851941 w 5553421"/>
              <a:gd name="connsiteY184" fmla="*/ 118957 h 1001926"/>
              <a:gd name="connsiteX185" fmla="*/ 815817 w 5553421"/>
              <a:gd name="connsiteY185" fmla="*/ 305727 h 1001926"/>
              <a:gd name="connsiteX186" fmla="*/ 809499 w 5553421"/>
              <a:gd name="connsiteY186" fmla="*/ 317212 h 1001926"/>
              <a:gd name="connsiteX187" fmla="*/ 805962 w 5553421"/>
              <a:gd name="connsiteY187" fmla="*/ 316323 h 1001926"/>
              <a:gd name="connsiteX188" fmla="*/ 789445 w 5553421"/>
              <a:gd name="connsiteY188" fmla="*/ 306820 h 1001926"/>
              <a:gd name="connsiteX189" fmla="*/ 562780 w 5553421"/>
              <a:gd name="connsiteY189" fmla="*/ 235526 h 1001926"/>
              <a:gd name="connsiteX190" fmla="*/ 562780 w 5553421"/>
              <a:gd name="connsiteY190" fmla="*/ 235526 h 1001926"/>
              <a:gd name="connsiteX191" fmla="*/ 562780 w 5553421"/>
              <a:gd name="connsiteY191" fmla="*/ 235526 h 1001926"/>
              <a:gd name="connsiteX192" fmla="*/ 540011 w 5553421"/>
              <a:gd name="connsiteY192" fmla="*/ 235859 h 1001926"/>
              <a:gd name="connsiteX193" fmla="*/ 283022 w 5553421"/>
              <a:gd name="connsiteY193" fmla="*/ 430422 h 1001926"/>
              <a:gd name="connsiteX194" fmla="*/ 355820 w 5553421"/>
              <a:gd name="connsiteY194" fmla="*/ 710303 h 1001926"/>
              <a:gd name="connsiteX195" fmla="*/ 559103 w 5553421"/>
              <a:gd name="connsiteY195" fmla="*/ 769780 h 1001926"/>
              <a:gd name="connsiteX196" fmla="*/ 559103 w 5553421"/>
              <a:gd name="connsiteY196" fmla="*/ 769780 h 1001926"/>
              <a:gd name="connsiteX197" fmla="*/ 559103 w 5553421"/>
              <a:gd name="connsiteY197" fmla="*/ 769780 h 1001926"/>
              <a:gd name="connsiteX198" fmla="*/ 710055 w 5553421"/>
              <a:gd name="connsiteY198" fmla="*/ 731359 h 1001926"/>
              <a:gd name="connsiteX199" fmla="*/ 717747 w 5553421"/>
              <a:gd name="connsiteY199" fmla="*/ 729035 h 1001926"/>
              <a:gd name="connsiteX200" fmla="*/ 735294 w 5553421"/>
              <a:gd name="connsiteY200" fmla="*/ 721805 h 1001926"/>
              <a:gd name="connsiteX201" fmla="*/ 739449 w 5553421"/>
              <a:gd name="connsiteY201" fmla="*/ 721241 h 1001926"/>
              <a:gd name="connsiteX202" fmla="*/ 741011 w 5553421"/>
              <a:gd name="connsiteY202" fmla="*/ 724677 h 1001926"/>
              <a:gd name="connsiteX203" fmla="*/ 740822 w 5553421"/>
              <a:gd name="connsiteY203" fmla="*/ 736828 h 1001926"/>
              <a:gd name="connsiteX204" fmla="*/ 704835 w 5553421"/>
              <a:gd name="connsiteY204" fmla="*/ 941236 h 1001926"/>
              <a:gd name="connsiteX205" fmla="*/ 698517 w 5553421"/>
              <a:gd name="connsiteY205" fmla="*/ 959147 h 1001926"/>
              <a:gd name="connsiteX206" fmla="*/ 684232 w 5553421"/>
              <a:gd name="connsiteY206" fmla="*/ 966667 h 1001926"/>
              <a:gd name="connsiteX207" fmla="*/ 592090 w 5553421"/>
              <a:gd name="connsiteY207" fmla="*/ 992891 h 1001926"/>
              <a:gd name="connsiteX208" fmla="*/ 508832 w 5553421"/>
              <a:gd name="connsiteY208" fmla="*/ 1001926 h 1001926"/>
              <a:gd name="connsiteX209" fmla="*/ 448547 w 5553421"/>
              <a:gd name="connsiteY209" fmla="*/ 1001603 h 1001926"/>
              <a:gd name="connsiteX210" fmla="*/ 425321 w 5553421"/>
              <a:gd name="connsiteY210" fmla="*/ 999755 h 1001926"/>
              <a:gd name="connsiteX211" fmla="*/ 18479 w 5553421"/>
              <a:gd name="connsiteY211" fmla="*/ 666824 h 1001926"/>
              <a:gd name="connsiteX212" fmla="*/ 115726 w 5553421"/>
              <a:gd name="connsiteY212" fmla="*/ 181168 h 1001926"/>
              <a:gd name="connsiteX213" fmla="*/ 433974 w 5553421"/>
              <a:gd name="connsiteY213" fmla="*/ 6840 h 1001926"/>
              <a:gd name="connsiteX214" fmla="*/ 540039 w 5553421"/>
              <a:gd name="connsiteY214" fmla="*/ 87 h 10019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</a:cxnLst>
            <a:rect l="l" t="t" r="r" b="b"/>
            <a:pathLst>
              <a:path w="5553421" h="1001926">
                <a:moveTo>
                  <a:pt x="1358951" y="307044"/>
                </a:moveTo>
                <a:lnTo>
                  <a:pt x="1358951" y="307044"/>
                </a:lnTo>
                <a:lnTo>
                  <a:pt x="1358951" y="307044"/>
                </a:lnTo>
                <a:lnTo>
                  <a:pt x="1358951" y="307044"/>
                </a:lnTo>
                <a:close/>
                <a:moveTo>
                  <a:pt x="1359188" y="306820"/>
                </a:moveTo>
                <a:lnTo>
                  <a:pt x="1358914" y="306957"/>
                </a:lnTo>
                <a:lnTo>
                  <a:pt x="1358951" y="307044"/>
                </a:lnTo>
                <a:lnTo>
                  <a:pt x="1356441" y="309418"/>
                </a:lnTo>
                <a:lnTo>
                  <a:pt x="1229252" y="598050"/>
                </a:lnTo>
                <a:cubicBezTo>
                  <a:pt x="1226642" y="602015"/>
                  <a:pt x="1227604" y="604613"/>
                  <a:pt x="1227604" y="604613"/>
                </a:cubicBezTo>
                <a:cubicBezTo>
                  <a:pt x="1227604" y="604613"/>
                  <a:pt x="1229252" y="605980"/>
                  <a:pt x="1235158" y="605980"/>
                </a:cubicBezTo>
                <a:lnTo>
                  <a:pt x="1420397" y="607329"/>
                </a:lnTo>
                <a:lnTo>
                  <a:pt x="1422921" y="607347"/>
                </a:lnTo>
                <a:lnTo>
                  <a:pt x="1422921" y="607347"/>
                </a:lnTo>
                <a:lnTo>
                  <a:pt x="1422921" y="607347"/>
                </a:lnTo>
                <a:cubicBezTo>
                  <a:pt x="1424294" y="607347"/>
                  <a:pt x="1425256" y="605980"/>
                  <a:pt x="1425256" y="605980"/>
                </a:cubicBezTo>
                <a:cubicBezTo>
                  <a:pt x="1425256" y="605980"/>
                  <a:pt x="1426767" y="604613"/>
                  <a:pt x="1425256" y="600921"/>
                </a:cubicBezTo>
                <a:lnTo>
                  <a:pt x="1360013" y="309555"/>
                </a:lnTo>
                <a:lnTo>
                  <a:pt x="1358951" y="307044"/>
                </a:lnTo>
                <a:close/>
                <a:moveTo>
                  <a:pt x="3480067" y="303402"/>
                </a:moveTo>
                <a:cubicBezTo>
                  <a:pt x="3480067" y="303402"/>
                  <a:pt x="3479105" y="303402"/>
                  <a:pt x="3477869" y="308051"/>
                </a:cubicBezTo>
                <a:lnTo>
                  <a:pt x="3350130" y="595862"/>
                </a:lnTo>
                <a:cubicBezTo>
                  <a:pt x="3348757" y="600238"/>
                  <a:pt x="3348345" y="602767"/>
                  <a:pt x="3348276" y="604203"/>
                </a:cubicBezTo>
                <a:lnTo>
                  <a:pt x="3348276" y="604203"/>
                </a:lnTo>
                <a:lnTo>
                  <a:pt x="3348276" y="604203"/>
                </a:lnTo>
                <a:cubicBezTo>
                  <a:pt x="3348207" y="605638"/>
                  <a:pt x="3348482" y="605980"/>
                  <a:pt x="3348482" y="605980"/>
                </a:cubicBezTo>
                <a:cubicBezTo>
                  <a:pt x="3348482" y="605980"/>
                  <a:pt x="3352465" y="608305"/>
                  <a:pt x="3355350" y="608305"/>
                </a:cubicBezTo>
                <a:lnTo>
                  <a:pt x="3544348" y="607347"/>
                </a:lnTo>
                <a:lnTo>
                  <a:pt x="3546958" y="607347"/>
                </a:lnTo>
                <a:cubicBezTo>
                  <a:pt x="3546958" y="607347"/>
                  <a:pt x="3548057" y="605980"/>
                  <a:pt x="3546958" y="602152"/>
                </a:cubicBezTo>
                <a:lnTo>
                  <a:pt x="3482814" y="306957"/>
                </a:lnTo>
                <a:cubicBezTo>
                  <a:pt x="3481853" y="303539"/>
                  <a:pt x="3480204" y="303539"/>
                  <a:pt x="3480204" y="303539"/>
                </a:cubicBezTo>
                <a:close/>
                <a:moveTo>
                  <a:pt x="2001729" y="38561"/>
                </a:moveTo>
                <a:lnTo>
                  <a:pt x="2261328" y="38561"/>
                </a:lnTo>
                <a:cubicBezTo>
                  <a:pt x="2265036" y="38561"/>
                  <a:pt x="2267646" y="41296"/>
                  <a:pt x="2267646" y="41296"/>
                </a:cubicBezTo>
                <a:cubicBezTo>
                  <a:pt x="2267646" y="41296"/>
                  <a:pt x="2270118" y="42390"/>
                  <a:pt x="2271354" y="46491"/>
                </a:cubicBezTo>
                <a:lnTo>
                  <a:pt x="2564055" y="557305"/>
                </a:lnTo>
                <a:cubicBezTo>
                  <a:pt x="2569000" y="567970"/>
                  <a:pt x="2572846" y="566329"/>
                  <a:pt x="2572846" y="566329"/>
                </a:cubicBezTo>
                <a:cubicBezTo>
                  <a:pt x="2572846" y="566329"/>
                  <a:pt x="2576966" y="566329"/>
                  <a:pt x="2579439" y="554981"/>
                </a:cubicBezTo>
                <a:lnTo>
                  <a:pt x="2653472" y="46491"/>
                </a:lnTo>
                <a:cubicBezTo>
                  <a:pt x="2653472" y="42390"/>
                  <a:pt x="2656082" y="41296"/>
                  <a:pt x="2656082" y="41296"/>
                </a:cubicBezTo>
                <a:cubicBezTo>
                  <a:pt x="2656082" y="41296"/>
                  <a:pt x="2657318" y="38561"/>
                  <a:pt x="2661164" y="38561"/>
                </a:cubicBezTo>
                <a:lnTo>
                  <a:pt x="2905379" y="41296"/>
                </a:lnTo>
                <a:cubicBezTo>
                  <a:pt x="2910324" y="41296"/>
                  <a:pt x="2911697" y="42390"/>
                  <a:pt x="2911697" y="42390"/>
                </a:cubicBezTo>
                <a:cubicBezTo>
                  <a:pt x="2911697" y="42390"/>
                  <a:pt x="2912796" y="43757"/>
                  <a:pt x="2912796" y="46491"/>
                </a:cubicBezTo>
                <a:lnTo>
                  <a:pt x="2781349" y="965710"/>
                </a:lnTo>
                <a:cubicBezTo>
                  <a:pt x="2780112" y="970906"/>
                  <a:pt x="2777503" y="974324"/>
                  <a:pt x="2777503" y="974324"/>
                </a:cubicBezTo>
                <a:cubicBezTo>
                  <a:pt x="2777503" y="974324"/>
                  <a:pt x="2775992" y="975965"/>
                  <a:pt x="2769674" y="975965"/>
                </a:cubicBezTo>
                <a:lnTo>
                  <a:pt x="2769811" y="975828"/>
                </a:lnTo>
                <a:lnTo>
                  <a:pt x="2528343" y="975828"/>
                </a:lnTo>
                <a:cubicBezTo>
                  <a:pt x="2528343" y="975828"/>
                  <a:pt x="2526970" y="974187"/>
                  <a:pt x="2525871" y="973230"/>
                </a:cubicBezTo>
                <a:lnTo>
                  <a:pt x="2270801" y="522580"/>
                </a:lnTo>
                <a:lnTo>
                  <a:pt x="2201304" y="399795"/>
                </a:lnTo>
                <a:lnTo>
                  <a:pt x="2199752" y="398691"/>
                </a:lnTo>
                <a:lnTo>
                  <a:pt x="2197458" y="397061"/>
                </a:lnTo>
                <a:lnTo>
                  <a:pt x="2197458" y="397061"/>
                </a:lnTo>
                <a:lnTo>
                  <a:pt x="2197458" y="397061"/>
                </a:lnTo>
                <a:cubicBezTo>
                  <a:pt x="2197458" y="397061"/>
                  <a:pt x="2194986" y="397061"/>
                  <a:pt x="2194986" y="400889"/>
                </a:cubicBezTo>
                <a:lnTo>
                  <a:pt x="2114634" y="964343"/>
                </a:lnTo>
                <a:cubicBezTo>
                  <a:pt x="2113123" y="970769"/>
                  <a:pt x="2111887" y="972136"/>
                  <a:pt x="2111887" y="972136"/>
                </a:cubicBezTo>
                <a:cubicBezTo>
                  <a:pt x="2111887" y="972136"/>
                  <a:pt x="2109140" y="973230"/>
                  <a:pt x="2105431" y="973230"/>
                </a:cubicBezTo>
                <a:lnTo>
                  <a:pt x="1872617" y="973230"/>
                </a:lnTo>
                <a:cubicBezTo>
                  <a:pt x="1868908" y="973230"/>
                  <a:pt x="1866573" y="970769"/>
                  <a:pt x="1866573" y="970769"/>
                </a:cubicBezTo>
                <a:cubicBezTo>
                  <a:pt x="1866573" y="970769"/>
                  <a:pt x="1861354" y="965573"/>
                  <a:pt x="1862315" y="960651"/>
                </a:cubicBezTo>
                <a:lnTo>
                  <a:pt x="1990329" y="48952"/>
                </a:lnTo>
                <a:cubicBezTo>
                  <a:pt x="1991565" y="43757"/>
                  <a:pt x="1994037" y="42390"/>
                  <a:pt x="1994037" y="42390"/>
                </a:cubicBezTo>
                <a:cubicBezTo>
                  <a:pt x="1994037" y="42390"/>
                  <a:pt x="1997746" y="38561"/>
                  <a:pt x="2001729" y="38561"/>
                </a:cubicBezTo>
                <a:close/>
                <a:moveTo>
                  <a:pt x="1243949" y="37467"/>
                </a:moveTo>
                <a:lnTo>
                  <a:pt x="1545715" y="37467"/>
                </a:lnTo>
                <a:cubicBezTo>
                  <a:pt x="1550385" y="37467"/>
                  <a:pt x="1554368" y="41432"/>
                  <a:pt x="1554368" y="41432"/>
                </a:cubicBezTo>
                <a:cubicBezTo>
                  <a:pt x="1554368" y="41432"/>
                  <a:pt x="1555742" y="42526"/>
                  <a:pt x="1556978" y="46628"/>
                </a:cubicBezTo>
                <a:lnTo>
                  <a:pt x="1753806" y="966941"/>
                </a:lnTo>
                <a:cubicBezTo>
                  <a:pt x="1753806" y="971042"/>
                  <a:pt x="1751196" y="972410"/>
                  <a:pt x="1751196" y="972410"/>
                </a:cubicBezTo>
                <a:cubicBezTo>
                  <a:pt x="1751196" y="972410"/>
                  <a:pt x="1750097" y="973504"/>
                  <a:pt x="1747487" y="973504"/>
                </a:cubicBezTo>
                <a:lnTo>
                  <a:pt x="1747625" y="973230"/>
                </a:lnTo>
                <a:lnTo>
                  <a:pt x="1520167" y="974187"/>
                </a:lnTo>
                <a:cubicBezTo>
                  <a:pt x="1514948" y="974187"/>
                  <a:pt x="1510964" y="972136"/>
                  <a:pt x="1510964" y="972136"/>
                </a:cubicBezTo>
                <a:cubicBezTo>
                  <a:pt x="1510964" y="972136"/>
                  <a:pt x="1509591" y="970769"/>
                  <a:pt x="1508629" y="961745"/>
                </a:cubicBezTo>
                <a:lnTo>
                  <a:pt x="1472780" y="815447"/>
                </a:lnTo>
                <a:cubicBezTo>
                  <a:pt x="1472780" y="811755"/>
                  <a:pt x="1470308" y="810388"/>
                  <a:pt x="1470308" y="810388"/>
                </a:cubicBezTo>
                <a:lnTo>
                  <a:pt x="1470308" y="810388"/>
                </a:lnTo>
                <a:lnTo>
                  <a:pt x="1146016" y="810388"/>
                </a:lnTo>
                <a:cubicBezTo>
                  <a:pt x="1139423" y="810388"/>
                  <a:pt x="1135714" y="815447"/>
                  <a:pt x="1135714" y="815447"/>
                </a:cubicBezTo>
                <a:cubicBezTo>
                  <a:pt x="1135714" y="815447"/>
                  <a:pt x="1130357" y="819412"/>
                  <a:pt x="1126511" y="828299"/>
                </a:cubicBezTo>
                <a:lnTo>
                  <a:pt x="1062779" y="964343"/>
                </a:lnTo>
                <a:cubicBezTo>
                  <a:pt x="1060307" y="969128"/>
                  <a:pt x="1058796" y="970769"/>
                  <a:pt x="1058796" y="970769"/>
                </a:cubicBezTo>
                <a:cubicBezTo>
                  <a:pt x="1058796" y="970769"/>
                  <a:pt x="1054813" y="973230"/>
                  <a:pt x="1051242" y="973230"/>
                </a:cubicBezTo>
                <a:lnTo>
                  <a:pt x="786424" y="973230"/>
                </a:lnTo>
                <a:cubicBezTo>
                  <a:pt x="779006" y="974187"/>
                  <a:pt x="777770" y="970769"/>
                  <a:pt x="777770" y="970769"/>
                </a:cubicBezTo>
                <a:cubicBezTo>
                  <a:pt x="777770" y="970769"/>
                  <a:pt x="776397" y="966667"/>
                  <a:pt x="779006" y="961745"/>
                </a:cubicBezTo>
                <a:lnTo>
                  <a:pt x="1237768" y="43757"/>
                </a:lnTo>
                <a:cubicBezTo>
                  <a:pt x="1240378" y="38561"/>
                  <a:pt x="1243949" y="37467"/>
                  <a:pt x="1243949" y="37467"/>
                </a:cubicBezTo>
                <a:close/>
                <a:moveTo>
                  <a:pt x="4112855" y="37331"/>
                </a:moveTo>
                <a:lnTo>
                  <a:pt x="4365724" y="37331"/>
                </a:lnTo>
                <a:cubicBezTo>
                  <a:pt x="4372316" y="37331"/>
                  <a:pt x="4374789" y="38561"/>
                  <a:pt x="4374789" y="38561"/>
                </a:cubicBezTo>
                <a:cubicBezTo>
                  <a:pt x="4374789" y="38561"/>
                  <a:pt x="4375888" y="42390"/>
                  <a:pt x="4374789" y="47312"/>
                </a:cubicBezTo>
                <a:lnTo>
                  <a:pt x="4276169" y="753509"/>
                </a:lnTo>
                <a:cubicBezTo>
                  <a:pt x="4274933" y="761029"/>
                  <a:pt x="4278779" y="761986"/>
                  <a:pt x="4278779" y="761986"/>
                </a:cubicBezTo>
                <a:cubicBezTo>
                  <a:pt x="4278779" y="761986"/>
                  <a:pt x="4281526" y="763490"/>
                  <a:pt x="4291552" y="763490"/>
                </a:cubicBezTo>
                <a:lnTo>
                  <a:pt x="4552387" y="763490"/>
                </a:lnTo>
                <a:cubicBezTo>
                  <a:pt x="4557469" y="763490"/>
                  <a:pt x="4560079" y="766088"/>
                  <a:pt x="4560079" y="766088"/>
                </a:cubicBezTo>
                <a:cubicBezTo>
                  <a:pt x="4560079" y="766088"/>
                  <a:pt x="4561590" y="767319"/>
                  <a:pt x="4561590" y="773608"/>
                </a:cubicBezTo>
                <a:lnTo>
                  <a:pt x="4535905" y="963249"/>
                </a:lnTo>
                <a:cubicBezTo>
                  <a:pt x="4534394" y="970769"/>
                  <a:pt x="4533295" y="973230"/>
                  <a:pt x="4533295" y="973230"/>
                </a:cubicBezTo>
                <a:cubicBezTo>
                  <a:pt x="4533295" y="973230"/>
                  <a:pt x="4531921" y="975828"/>
                  <a:pt x="4525466" y="975828"/>
                </a:cubicBezTo>
                <a:lnTo>
                  <a:pt x="3999127" y="975828"/>
                </a:lnTo>
                <a:cubicBezTo>
                  <a:pt x="3983606" y="975828"/>
                  <a:pt x="3979760" y="972136"/>
                  <a:pt x="3979760" y="972136"/>
                </a:cubicBezTo>
                <a:cubicBezTo>
                  <a:pt x="3979760" y="972136"/>
                  <a:pt x="3977287" y="966667"/>
                  <a:pt x="3978661" y="955456"/>
                </a:cubicBezTo>
                <a:lnTo>
                  <a:pt x="4109010" y="52644"/>
                </a:lnTo>
                <a:cubicBezTo>
                  <a:pt x="4109971" y="41296"/>
                  <a:pt x="4112855" y="37331"/>
                  <a:pt x="4112855" y="37331"/>
                </a:cubicBezTo>
                <a:close/>
                <a:moveTo>
                  <a:pt x="3376777" y="37331"/>
                </a:moveTo>
                <a:lnTo>
                  <a:pt x="3664258" y="37331"/>
                </a:lnTo>
                <a:cubicBezTo>
                  <a:pt x="3670714" y="37331"/>
                  <a:pt x="3674697" y="41296"/>
                  <a:pt x="3674697" y="41296"/>
                </a:cubicBezTo>
                <a:cubicBezTo>
                  <a:pt x="3674697" y="41296"/>
                  <a:pt x="3675933" y="42390"/>
                  <a:pt x="3677170" y="46491"/>
                </a:cubicBezTo>
                <a:lnTo>
                  <a:pt x="3869877" y="972136"/>
                </a:lnTo>
                <a:cubicBezTo>
                  <a:pt x="3869877" y="974187"/>
                  <a:pt x="3868778" y="975828"/>
                  <a:pt x="3868778" y="975828"/>
                </a:cubicBezTo>
                <a:cubicBezTo>
                  <a:pt x="3868778" y="975828"/>
                  <a:pt x="3868778" y="976785"/>
                  <a:pt x="3864932" y="976785"/>
                </a:cubicBezTo>
                <a:lnTo>
                  <a:pt x="3631018" y="976785"/>
                </a:lnTo>
                <a:cubicBezTo>
                  <a:pt x="3626074" y="979656"/>
                  <a:pt x="3621953" y="974050"/>
                  <a:pt x="3621953" y="974050"/>
                </a:cubicBezTo>
                <a:cubicBezTo>
                  <a:pt x="3621953" y="974050"/>
                  <a:pt x="3620854" y="973093"/>
                  <a:pt x="3619481" y="965437"/>
                </a:cubicBezTo>
                <a:lnTo>
                  <a:pt x="3588988" y="822146"/>
                </a:lnTo>
                <a:cubicBezTo>
                  <a:pt x="3586516" y="814216"/>
                  <a:pt x="3583906" y="810388"/>
                  <a:pt x="3583906" y="810388"/>
                </a:cubicBezTo>
                <a:cubicBezTo>
                  <a:pt x="3583906" y="810388"/>
                  <a:pt x="3577451" y="806696"/>
                  <a:pt x="3569759" y="806696"/>
                </a:cubicBezTo>
                <a:lnTo>
                  <a:pt x="3265520" y="806696"/>
                </a:lnTo>
                <a:cubicBezTo>
                  <a:pt x="3259477" y="806696"/>
                  <a:pt x="3255494" y="810388"/>
                  <a:pt x="3255494" y="810388"/>
                </a:cubicBezTo>
                <a:cubicBezTo>
                  <a:pt x="3255494" y="810388"/>
                  <a:pt x="3250412" y="815447"/>
                  <a:pt x="3247664" y="823103"/>
                </a:cubicBezTo>
                <a:lnTo>
                  <a:pt x="3178850" y="969128"/>
                </a:lnTo>
                <a:cubicBezTo>
                  <a:pt x="3177339" y="973230"/>
                  <a:pt x="3175004" y="974187"/>
                  <a:pt x="3175004" y="974187"/>
                </a:cubicBezTo>
                <a:cubicBezTo>
                  <a:pt x="3175004" y="974187"/>
                  <a:pt x="3170060" y="975828"/>
                  <a:pt x="3167038" y="975828"/>
                </a:cubicBezTo>
                <a:lnTo>
                  <a:pt x="2904005" y="975828"/>
                </a:lnTo>
                <a:cubicBezTo>
                  <a:pt x="2897825" y="976785"/>
                  <a:pt x="2895215" y="973230"/>
                  <a:pt x="2895215" y="973230"/>
                </a:cubicBezTo>
                <a:cubicBezTo>
                  <a:pt x="2895215" y="973230"/>
                  <a:pt x="2893979" y="970769"/>
                  <a:pt x="2897825" y="965573"/>
                </a:cubicBezTo>
                <a:lnTo>
                  <a:pt x="3361531" y="43757"/>
                </a:lnTo>
                <a:cubicBezTo>
                  <a:pt x="3364003" y="42390"/>
                  <a:pt x="3366476" y="38561"/>
                  <a:pt x="3366476" y="38561"/>
                </a:cubicBezTo>
                <a:cubicBezTo>
                  <a:pt x="3366476" y="38561"/>
                  <a:pt x="3369222" y="37331"/>
                  <a:pt x="3376777" y="37331"/>
                </a:cubicBezTo>
                <a:close/>
                <a:moveTo>
                  <a:pt x="4942334" y="18462"/>
                </a:moveTo>
                <a:lnTo>
                  <a:pt x="5196714" y="18462"/>
                </a:lnTo>
                <a:cubicBezTo>
                  <a:pt x="5201796" y="18462"/>
                  <a:pt x="5203306" y="19830"/>
                  <a:pt x="5203306" y="19830"/>
                </a:cubicBezTo>
                <a:cubicBezTo>
                  <a:pt x="5203306" y="19830"/>
                  <a:pt x="5205916" y="22564"/>
                  <a:pt x="5205916" y="27350"/>
                </a:cubicBezTo>
                <a:lnTo>
                  <a:pt x="5205916" y="332389"/>
                </a:lnTo>
                <a:lnTo>
                  <a:pt x="5537900" y="332389"/>
                </a:lnTo>
                <a:cubicBezTo>
                  <a:pt x="5546828" y="332389"/>
                  <a:pt x="5549300" y="333893"/>
                  <a:pt x="5549300" y="333893"/>
                </a:cubicBezTo>
                <a:cubicBezTo>
                  <a:pt x="5549300" y="333893"/>
                  <a:pt x="5553421" y="335260"/>
                  <a:pt x="5553421" y="342643"/>
                </a:cubicBezTo>
                <a:lnTo>
                  <a:pt x="5553421" y="599691"/>
                </a:lnTo>
                <a:cubicBezTo>
                  <a:pt x="5553421" y="602152"/>
                  <a:pt x="5549300" y="606117"/>
                  <a:pt x="5549300" y="606117"/>
                </a:cubicBezTo>
                <a:lnTo>
                  <a:pt x="5549163" y="605843"/>
                </a:lnTo>
                <a:cubicBezTo>
                  <a:pt x="5549163" y="605843"/>
                  <a:pt x="5548202" y="608168"/>
                  <a:pt x="5544218" y="608168"/>
                </a:cubicBezTo>
                <a:lnTo>
                  <a:pt x="5217042" y="608168"/>
                </a:lnTo>
                <a:cubicBezTo>
                  <a:pt x="5211822" y="608168"/>
                  <a:pt x="5209350" y="610766"/>
                  <a:pt x="5209350" y="610766"/>
                </a:cubicBezTo>
                <a:cubicBezTo>
                  <a:pt x="5209350" y="610766"/>
                  <a:pt x="5205916" y="611996"/>
                  <a:pt x="5205916" y="618559"/>
                </a:cubicBezTo>
                <a:lnTo>
                  <a:pt x="5205916" y="965573"/>
                </a:lnTo>
                <a:cubicBezTo>
                  <a:pt x="5205916" y="970769"/>
                  <a:pt x="5203306" y="972136"/>
                  <a:pt x="5203306" y="972136"/>
                </a:cubicBezTo>
                <a:cubicBezTo>
                  <a:pt x="5203306" y="972136"/>
                  <a:pt x="5201796" y="974187"/>
                  <a:pt x="5197675" y="974187"/>
                </a:cubicBezTo>
                <a:lnTo>
                  <a:pt x="4938488" y="974187"/>
                </a:lnTo>
                <a:cubicBezTo>
                  <a:pt x="4934505" y="974187"/>
                  <a:pt x="4932033" y="972136"/>
                  <a:pt x="4932033" y="972136"/>
                </a:cubicBezTo>
                <a:cubicBezTo>
                  <a:pt x="4932033" y="972136"/>
                  <a:pt x="4931072" y="970769"/>
                  <a:pt x="4931072" y="964343"/>
                </a:cubicBezTo>
                <a:lnTo>
                  <a:pt x="4931072" y="617329"/>
                </a:lnTo>
                <a:cubicBezTo>
                  <a:pt x="4931072" y="613363"/>
                  <a:pt x="4927225" y="610902"/>
                  <a:pt x="4927225" y="610902"/>
                </a:cubicBezTo>
                <a:cubicBezTo>
                  <a:pt x="4927225" y="610902"/>
                  <a:pt x="4925715" y="608305"/>
                  <a:pt x="4922143" y="608305"/>
                </a:cubicBezTo>
                <a:lnTo>
                  <a:pt x="4587138" y="608305"/>
                </a:lnTo>
                <a:cubicBezTo>
                  <a:pt x="4580820" y="608305"/>
                  <a:pt x="4579446" y="607347"/>
                  <a:pt x="4579446" y="607347"/>
                </a:cubicBezTo>
                <a:cubicBezTo>
                  <a:pt x="4579446" y="607347"/>
                  <a:pt x="4576836" y="604613"/>
                  <a:pt x="4576836" y="596819"/>
                </a:cubicBezTo>
                <a:lnTo>
                  <a:pt x="4576836" y="342643"/>
                </a:lnTo>
                <a:cubicBezTo>
                  <a:pt x="4576836" y="339772"/>
                  <a:pt x="4579446" y="336217"/>
                  <a:pt x="4579446" y="336217"/>
                </a:cubicBezTo>
                <a:cubicBezTo>
                  <a:pt x="4579446" y="336217"/>
                  <a:pt x="4580820" y="335260"/>
                  <a:pt x="4583292" y="335260"/>
                </a:cubicBezTo>
                <a:lnTo>
                  <a:pt x="4925715" y="335260"/>
                </a:lnTo>
                <a:cubicBezTo>
                  <a:pt x="4928462" y="335260"/>
                  <a:pt x="4928462" y="333893"/>
                  <a:pt x="4928462" y="333893"/>
                </a:cubicBezTo>
                <a:cubicBezTo>
                  <a:pt x="4928462" y="333893"/>
                  <a:pt x="4931072" y="332389"/>
                  <a:pt x="4931072" y="329927"/>
                </a:cubicBezTo>
                <a:lnTo>
                  <a:pt x="4931072" y="26119"/>
                </a:lnTo>
                <a:cubicBezTo>
                  <a:pt x="4931072" y="22564"/>
                  <a:pt x="4932033" y="19830"/>
                  <a:pt x="4932033" y="19830"/>
                </a:cubicBezTo>
                <a:cubicBezTo>
                  <a:pt x="4932033" y="19830"/>
                  <a:pt x="4934505" y="18462"/>
                  <a:pt x="4942334" y="18462"/>
                </a:cubicBezTo>
                <a:close/>
                <a:moveTo>
                  <a:pt x="540039" y="87"/>
                </a:moveTo>
                <a:lnTo>
                  <a:pt x="540041" y="88"/>
                </a:lnTo>
                <a:lnTo>
                  <a:pt x="621538" y="6958"/>
                </a:lnTo>
                <a:lnTo>
                  <a:pt x="643188" y="10572"/>
                </a:lnTo>
                <a:lnTo>
                  <a:pt x="680298" y="18334"/>
                </a:lnTo>
                <a:lnTo>
                  <a:pt x="744529" y="36100"/>
                </a:lnTo>
                <a:lnTo>
                  <a:pt x="744531" y="36100"/>
                </a:lnTo>
                <a:cubicBezTo>
                  <a:pt x="744531" y="36100"/>
                  <a:pt x="757374" y="40270"/>
                  <a:pt x="775006" y="47619"/>
                </a:cubicBezTo>
                <a:lnTo>
                  <a:pt x="790757" y="55757"/>
                </a:lnTo>
                <a:lnTo>
                  <a:pt x="834223" y="78212"/>
                </a:lnTo>
                <a:lnTo>
                  <a:pt x="843575" y="85510"/>
                </a:lnTo>
                <a:lnTo>
                  <a:pt x="852027" y="92107"/>
                </a:lnTo>
                <a:cubicBezTo>
                  <a:pt x="854963" y="94995"/>
                  <a:pt x="855512" y="96260"/>
                  <a:pt x="855512" y="96260"/>
                </a:cubicBezTo>
                <a:cubicBezTo>
                  <a:pt x="855512" y="96260"/>
                  <a:pt x="856886" y="98448"/>
                  <a:pt x="851941" y="118957"/>
                </a:cubicBezTo>
                <a:lnTo>
                  <a:pt x="815817" y="305727"/>
                </a:lnTo>
                <a:lnTo>
                  <a:pt x="809499" y="317212"/>
                </a:lnTo>
                <a:lnTo>
                  <a:pt x="805962" y="316323"/>
                </a:lnTo>
                <a:cubicBezTo>
                  <a:pt x="803112" y="315161"/>
                  <a:pt x="798099" y="312563"/>
                  <a:pt x="789445" y="306820"/>
                </a:cubicBezTo>
                <a:cubicBezTo>
                  <a:pt x="703016" y="245908"/>
                  <a:pt x="605924" y="236449"/>
                  <a:pt x="562780" y="235526"/>
                </a:cubicBezTo>
                <a:lnTo>
                  <a:pt x="562780" y="235526"/>
                </a:lnTo>
                <a:lnTo>
                  <a:pt x="562780" y="235526"/>
                </a:lnTo>
                <a:cubicBezTo>
                  <a:pt x="548398" y="235218"/>
                  <a:pt x="540011" y="235859"/>
                  <a:pt x="540011" y="235859"/>
                </a:cubicBezTo>
                <a:cubicBezTo>
                  <a:pt x="437820" y="242422"/>
                  <a:pt x="319009" y="295609"/>
                  <a:pt x="283022" y="430422"/>
                </a:cubicBezTo>
                <a:cubicBezTo>
                  <a:pt x="251294" y="549922"/>
                  <a:pt x="284671" y="650280"/>
                  <a:pt x="355820" y="710303"/>
                </a:cubicBezTo>
                <a:cubicBezTo>
                  <a:pt x="404718" y="751732"/>
                  <a:pt x="480125" y="773608"/>
                  <a:pt x="559103" y="769780"/>
                </a:cubicBezTo>
                <a:lnTo>
                  <a:pt x="559103" y="769780"/>
                </a:lnTo>
                <a:lnTo>
                  <a:pt x="559103" y="769780"/>
                </a:lnTo>
                <a:cubicBezTo>
                  <a:pt x="646186" y="763490"/>
                  <a:pt x="715000" y="729035"/>
                  <a:pt x="710055" y="731359"/>
                </a:cubicBezTo>
                <a:cubicBezTo>
                  <a:pt x="710055" y="731359"/>
                  <a:pt x="713763" y="730402"/>
                  <a:pt x="717747" y="729035"/>
                </a:cubicBezTo>
                <a:cubicBezTo>
                  <a:pt x="726675" y="724592"/>
                  <a:pt x="732101" y="722643"/>
                  <a:pt x="735294" y="721805"/>
                </a:cubicBezTo>
                <a:lnTo>
                  <a:pt x="739449" y="721241"/>
                </a:lnTo>
                <a:lnTo>
                  <a:pt x="741011" y="724677"/>
                </a:lnTo>
                <a:cubicBezTo>
                  <a:pt x="741646" y="727121"/>
                  <a:pt x="741990" y="731018"/>
                  <a:pt x="740822" y="736828"/>
                </a:cubicBezTo>
                <a:lnTo>
                  <a:pt x="704835" y="941236"/>
                </a:lnTo>
                <a:cubicBezTo>
                  <a:pt x="703599" y="951627"/>
                  <a:pt x="698517" y="959147"/>
                  <a:pt x="698517" y="959147"/>
                </a:cubicBezTo>
                <a:cubicBezTo>
                  <a:pt x="698517" y="959147"/>
                  <a:pt x="693572" y="964343"/>
                  <a:pt x="684232" y="966667"/>
                </a:cubicBezTo>
                <a:cubicBezTo>
                  <a:pt x="653602" y="979144"/>
                  <a:pt x="622106" y="987450"/>
                  <a:pt x="592090" y="992891"/>
                </a:cubicBezTo>
                <a:lnTo>
                  <a:pt x="508832" y="1001926"/>
                </a:lnTo>
                <a:lnTo>
                  <a:pt x="448547" y="1001603"/>
                </a:lnTo>
                <a:cubicBezTo>
                  <a:pt x="433846" y="1000806"/>
                  <a:pt x="425321" y="999755"/>
                  <a:pt x="425321" y="999755"/>
                </a:cubicBezTo>
                <a:cubicBezTo>
                  <a:pt x="204044" y="975828"/>
                  <a:pt x="63394" y="841015"/>
                  <a:pt x="18479" y="666824"/>
                </a:cubicBezTo>
                <a:cubicBezTo>
                  <a:pt x="-48000" y="406221"/>
                  <a:pt x="83859" y="220409"/>
                  <a:pt x="115726" y="181168"/>
                </a:cubicBezTo>
                <a:cubicBezTo>
                  <a:pt x="193605" y="88603"/>
                  <a:pt x="315300" y="22427"/>
                  <a:pt x="433974" y="6840"/>
                </a:cubicBezTo>
                <a:cubicBezTo>
                  <a:pt x="471918" y="1405"/>
                  <a:pt x="507416" y="-440"/>
                  <a:pt x="540039" y="87"/>
                </a:cubicBezTo>
                <a:close/>
              </a:path>
            </a:pathLst>
          </a:custGeom>
          <a:solidFill>
            <a:schemeClr val="bg2"/>
          </a:solidFill>
          <a:ln w="127">
            <a:solidFill>
              <a:schemeClr val="bg1"/>
            </a:solidFill>
          </a:ln>
        </p:spPr>
        <p:txBody>
          <a:bodyPr wrap="square"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pic>
        <p:nvPicPr>
          <p:cNvPr id="3" name="Graphique 2">
            <a:extLst>
              <a:ext uri="{FF2B5EF4-FFF2-40B4-BE49-F238E27FC236}">
                <a16:creationId xmlns:a16="http://schemas.microsoft.com/office/drawing/2014/main" id="{5BD8AB59-A14C-E87F-0890-C6ECD6CFEDC4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424488" y="3153065"/>
            <a:ext cx="3465166" cy="3463362"/>
          </a:xfrm>
          <a:prstGeom prst="rect">
            <a:avLst/>
          </a:prstGeom>
        </p:spPr>
      </p:pic>
      <p:sp>
        <p:nvSpPr>
          <p:cNvPr id="13" name="Espace réservé du texte 12">
            <a:extLst>
              <a:ext uri="{FF2B5EF4-FFF2-40B4-BE49-F238E27FC236}">
                <a16:creationId xmlns:a16="http://schemas.microsoft.com/office/drawing/2014/main" id="{92E613D9-2539-5F2C-133E-DCA449B9941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0" y="3621349"/>
            <a:ext cx="1223455" cy="1222821"/>
          </a:xfrm>
          <a:custGeom>
            <a:avLst/>
            <a:gdLst>
              <a:gd name="connsiteX0" fmla="*/ 0 w 2445636"/>
              <a:gd name="connsiteY0" fmla="*/ 0 h 2445642"/>
              <a:gd name="connsiteX1" fmla="*/ 2014927 w 2445636"/>
              <a:gd name="connsiteY1" fmla="*/ 0 h 2445642"/>
              <a:gd name="connsiteX2" fmla="*/ 2445636 w 2445636"/>
              <a:gd name="connsiteY2" fmla="*/ 1294606 h 2445642"/>
              <a:gd name="connsiteX3" fmla="*/ 2445636 w 2445636"/>
              <a:gd name="connsiteY3" fmla="*/ 2445642 h 2445642"/>
              <a:gd name="connsiteX4" fmla="*/ 636162 w 2445636"/>
              <a:gd name="connsiteY4" fmla="*/ 2445642 h 2445642"/>
              <a:gd name="connsiteX5" fmla="*/ 0 w 2445636"/>
              <a:gd name="connsiteY5" fmla="*/ 1173314 h 24456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445636" h="2445642">
                <a:moveTo>
                  <a:pt x="0" y="0"/>
                </a:moveTo>
                <a:lnTo>
                  <a:pt x="2014927" y="0"/>
                </a:lnTo>
                <a:cubicBezTo>
                  <a:pt x="2014927" y="495069"/>
                  <a:pt x="2165922" y="948057"/>
                  <a:pt x="2445636" y="1294606"/>
                </a:cubicBezTo>
                <a:lnTo>
                  <a:pt x="2445636" y="2445642"/>
                </a:lnTo>
                <a:lnTo>
                  <a:pt x="636162" y="2445642"/>
                </a:lnTo>
                <a:cubicBezTo>
                  <a:pt x="336646" y="2071864"/>
                  <a:pt x="123767" y="1648580"/>
                  <a:pt x="0" y="1173314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6" name="Espace réservé du texte 25">
            <a:extLst>
              <a:ext uri="{FF2B5EF4-FFF2-40B4-BE49-F238E27FC236}">
                <a16:creationId xmlns:a16="http://schemas.microsoft.com/office/drawing/2014/main" id="{DF8D9C2A-DB0A-3246-6ED5-BE228EEA686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9698262" y="0"/>
            <a:ext cx="1130588" cy="1222821"/>
          </a:xfrm>
          <a:custGeom>
            <a:avLst/>
            <a:gdLst>
              <a:gd name="connsiteX0" fmla="*/ 353976 w 2259998"/>
              <a:gd name="connsiteY0" fmla="*/ 0 h 2445642"/>
              <a:gd name="connsiteX1" fmla="*/ 2259998 w 2259998"/>
              <a:gd name="connsiteY1" fmla="*/ 0 h 2445642"/>
              <a:gd name="connsiteX2" fmla="*/ 1930774 w 2259998"/>
              <a:gd name="connsiteY2" fmla="*/ 2445642 h 2445642"/>
              <a:gd name="connsiteX3" fmla="*/ 0 w 2259998"/>
              <a:gd name="connsiteY3" fmla="*/ 2445642 h 24456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59998" h="2445642">
                <a:moveTo>
                  <a:pt x="353976" y="0"/>
                </a:moveTo>
                <a:lnTo>
                  <a:pt x="2259998" y="0"/>
                </a:lnTo>
                <a:lnTo>
                  <a:pt x="1930774" y="2445642"/>
                </a:lnTo>
                <a:lnTo>
                  <a:pt x="0" y="2445642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5" name="Espace réservé du texte 23">
            <a:extLst>
              <a:ext uri="{FF2B5EF4-FFF2-40B4-BE49-F238E27FC236}">
                <a16:creationId xmlns:a16="http://schemas.microsoft.com/office/drawing/2014/main" id="{20926C07-7DA0-A50F-159F-3CC367AB9B5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-2770982" y="877200"/>
            <a:ext cx="1524794" cy="1581150"/>
          </a:xfrm>
        </p:spPr>
        <p:txBody>
          <a:bodyPr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8" name="Espace réservé du texte 27">
            <a:extLst>
              <a:ext uri="{FF2B5EF4-FFF2-40B4-BE49-F238E27FC236}">
                <a16:creationId xmlns:a16="http://schemas.microsoft.com/office/drawing/2014/main" id="{763BE08C-FF20-9241-DDA6-38F13990D41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0969272" y="0"/>
            <a:ext cx="1223460" cy="1222821"/>
          </a:xfrm>
          <a:custGeom>
            <a:avLst/>
            <a:gdLst>
              <a:gd name="connsiteX0" fmla="*/ 0 w 2445646"/>
              <a:gd name="connsiteY0" fmla="*/ 0 h 2445642"/>
              <a:gd name="connsiteX1" fmla="*/ 2445646 w 2445646"/>
              <a:gd name="connsiteY1" fmla="*/ 0 h 2445642"/>
              <a:gd name="connsiteX2" fmla="*/ 2445646 w 2445646"/>
              <a:gd name="connsiteY2" fmla="*/ 2445642 h 2445642"/>
              <a:gd name="connsiteX3" fmla="*/ 849046 w 2445646"/>
              <a:gd name="connsiteY3" fmla="*/ 2445642 h 2445642"/>
              <a:gd name="connsiteX4" fmla="*/ 849046 w 2445646"/>
              <a:gd name="connsiteY4" fmla="*/ 1740168 h 2445642"/>
              <a:gd name="connsiteX5" fmla="*/ 752506 w 2445646"/>
              <a:gd name="connsiteY5" fmla="*/ 1631253 h 2445642"/>
              <a:gd name="connsiteX6" fmla="*/ 0 w 2445646"/>
              <a:gd name="connsiteY6" fmla="*/ 1631253 h 24456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445646" h="2445642">
                <a:moveTo>
                  <a:pt x="0" y="0"/>
                </a:moveTo>
                <a:lnTo>
                  <a:pt x="2445646" y="0"/>
                </a:lnTo>
                <a:lnTo>
                  <a:pt x="2445646" y="2445642"/>
                </a:lnTo>
                <a:lnTo>
                  <a:pt x="849046" y="2445642"/>
                </a:lnTo>
                <a:lnTo>
                  <a:pt x="849046" y="1740168"/>
                </a:lnTo>
                <a:cubicBezTo>
                  <a:pt x="849046" y="1668383"/>
                  <a:pt x="819342" y="1631253"/>
                  <a:pt x="752506" y="1631253"/>
                </a:cubicBezTo>
                <a:lnTo>
                  <a:pt x="0" y="1631253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37" name="Espace réservé du texte 36">
            <a:extLst>
              <a:ext uri="{FF2B5EF4-FFF2-40B4-BE49-F238E27FC236}">
                <a16:creationId xmlns:a16="http://schemas.microsoft.com/office/drawing/2014/main" id="{4B0C08DA-F2CC-BEC6-2D26-5002052C6F9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337186" y="4272097"/>
            <a:ext cx="745135" cy="855530"/>
          </a:xfrm>
          <a:custGeom>
            <a:avLst/>
            <a:gdLst>
              <a:gd name="connsiteX0" fmla="*/ 0 w 1489494"/>
              <a:gd name="connsiteY0" fmla="*/ 2858 h 1711060"/>
              <a:gd name="connsiteX1" fmla="*/ 201553 w 1489494"/>
              <a:gd name="connsiteY1" fmla="*/ 2858 h 1711060"/>
              <a:gd name="connsiteX2" fmla="*/ 201553 w 1489494"/>
              <a:gd name="connsiteY2" fmla="*/ 1711059 h 1711060"/>
              <a:gd name="connsiteX3" fmla="*/ 0 w 1489494"/>
              <a:gd name="connsiteY3" fmla="*/ 1711059 h 1711060"/>
              <a:gd name="connsiteX4" fmla="*/ 427407 w 1489494"/>
              <a:gd name="connsiteY4" fmla="*/ 1429 h 1711060"/>
              <a:gd name="connsiteX5" fmla="*/ 630390 w 1489494"/>
              <a:gd name="connsiteY5" fmla="*/ 1429 h 1711060"/>
              <a:gd name="connsiteX6" fmla="*/ 630390 w 1489494"/>
              <a:gd name="connsiteY6" fmla="*/ 1709630 h 1711060"/>
              <a:gd name="connsiteX7" fmla="*/ 630390 w 1489494"/>
              <a:gd name="connsiteY7" fmla="*/ 1711060 h 1711060"/>
              <a:gd name="connsiteX8" fmla="*/ 427407 w 1489494"/>
              <a:gd name="connsiteY8" fmla="*/ 1711060 h 1711060"/>
              <a:gd name="connsiteX9" fmla="*/ 1286511 w 1489494"/>
              <a:gd name="connsiteY9" fmla="*/ 0 h 1711060"/>
              <a:gd name="connsiteX10" fmla="*/ 1489494 w 1489494"/>
              <a:gd name="connsiteY10" fmla="*/ 0 h 1711060"/>
              <a:gd name="connsiteX11" fmla="*/ 1489494 w 1489494"/>
              <a:gd name="connsiteY11" fmla="*/ 1708201 h 1711060"/>
              <a:gd name="connsiteX12" fmla="*/ 1286511 w 1489494"/>
              <a:gd name="connsiteY12" fmla="*/ 1708201 h 1711060"/>
              <a:gd name="connsiteX13" fmla="*/ 857674 w 1489494"/>
              <a:gd name="connsiteY13" fmla="*/ 0 h 1711060"/>
              <a:gd name="connsiteX14" fmla="*/ 1060657 w 1489494"/>
              <a:gd name="connsiteY14" fmla="*/ 0 h 1711060"/>
              <a:gd name="connsiteX15" fmla="*/ 1060657 w 1489494"/>
              <a:gd name="connsiteY15" fmla="*/ 1708201 h 1711060"/>
              <a:gd name="connsiteX16" fmla="*/ 857674 w 1489494"/>
              <a:gd name="connsiteY16" fmla="*/ 1708201 h 17110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489494" h="1711060">
                <a:moveTo>
                  <a:pt x="0" y="2858"/>
                </a:moveTo>
                <a:lnTo>
                  <a:pt x="201553" y="2858"/>
                </a:lnTo>
                <a:cubicBezTo>
                  <a:pt x="201553" y="2858"/>
                  <a:pt x="201553" y="1711059"/>
                  <a:pt x="201553" y="1711059"/>
                </a:cubicBezTo>
                <a:lnTo>
                  <a:pt x="0" y="1711059"/>
                </a:lnTo>
                <a:close/>
                <a:moveTo>
                  <a:pt x="427407" y="1429"/>
                </a:moveTo>
                <a:lnTo>
                  <a:pt x="630390" y="1429"/>
                </a:lnTo>
                <a:lnTo>
                  <a:pt x="630390" y="1709630"/>
                </a:lnTo>
                <a:lnTo>
                  <a:pt x="630390" y="1711060"/>
                </a:lnTo>
                <a:lnTo>
                  <a:pt x="427407" y="1711060"/>
                </a:lnTo>
                <a:close/>
                <a:moveTo>
                  <a:pt x="1286511" y="0"/>
                </a:moveTo>
                <a:lnTo>
                  <a:pt x="1489494" y="0"/>
                </a:lnTo>
                <a:lnTo>
                  <a:pt x="1489494" y="1708201"/>
                </a:lnTo>
                <a:lnTo>
                  <a:pt x="1286511" y="1708201"/>
                </a:lnTo>
                <a:close/>
                <a:moveTo>
                  <a:pt x="857674" y="0"/>
                </a:moveTo>
                <a:lnTo>
                  <a:pt x="1060657" y="0"/>
                </a:lnTo>
                <a:lnTo>
                  <a:pt x="1060657" y="1708201"/>
                </a:lnTo>
                <a:lnTo>
                  <a:pt x="857674" y="1708201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39" name="Espace réservé du texte 38">
            <a:extLst>
              <a:ext uri="{FF2B5EF4-FFF2-40B4-BE49-F238E27FC236}">
                <a16:creationId xmlns:a16="http://schemas.microsoft.com/office/drawing/2014/main" id="{932EE670-00D9-3947-2635-4EAA388C8C4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140245" y="5345620"/>
            <a:ext cx="853831" cy="638968"/>
          </a:xfrm>
          <a:custGeom>
            <a:avLst/>
            <a:gdLst>
              <a:gd name="connsiteX0" fmla="*/ 0 w 1706772"/>
              <a:gd name="connsiteY0" fmla="*/ 0 h 1277935"/>
              <a:gd name="connsiteX1" fmla="*/ 1706772 w 1706772"/>
              <a:gd name="connsiteY1" fmla="*/ 0 h 1277935"/>
              <a:gd name="connsiteX2" fmla="*/ 1706772 w 1706772"/>
              <a:gd name="connsiteY2" fmla="*/ 1277935 h 1277935"/>
              <a:gd name="connsiteX3" fmla="*/ 0 w 1706772"/>
              <a:gd name="connsiteY3" fmla="*/ 1277935 h 12779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706772" h="1277935">
                <a:moveTo>
                  <a:pt x="0" y="0"/>
                </a:moveTo>
                <a:lnTo>
                  <a:pt x="1706772" y="0"/>
                </a:lnTo>
                <a:lnTo>
                  <a:pt x="1706772" y="1277935"/>
                </a:lnTo>
                <a:lnTo>
                  <a:pt x="0" y="1277935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418011602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ard members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pour une image  5">
            <a:extLst>
              <a:ext uri="{FF2B5EF4-FFF2-40B4-BE49-F238E27FC236}">
                <a16:creationId xmlns:a16="http://schemas.microsoft.com/office/drawing/2014/main" id="{B459A31B-FD1B-C4E9-148C-D2F8600B76C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856767" y="1411200"/>
            <a:ext cx="1336296" cy="15228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100">
                <a:noFill/>
              </a:defRPr>
            </a:lvl1pPr>
          </a:lstStyle>
          <a:p>
            <a:r>
              <a:rPr lang="fr-FR"/>
              <a:t>Cliquez sur l'icône pour ajouter une image</a:t>
            </a:r>
          </a:p>
        </p:txBody>
      </p:sp>
      <p:sp>
        <p:nvSpPr>
          <p:cNvPr id="12" name="Espace réservé pour une image  5">
            <a:extLst>
              <a:ext uri="{FF2B5EF4-FFF2-40B4-BE49-F238E27FC236}">
                <a16:creationId xmlns:a16="http://schemas.microsoft.com/office/drawing/2014/main" id="{0CB8AE79-4587-5B27-9A79-5582CBEFFFAC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640146" y="1411200"/>
            <a:ext cx="1336296" cy="15228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100">
                <a:noFill/>
              </a:defRPr>
            </a:lvl1pPr>
          </a:lstStyle>
          <a:p>
            <a:r>
              <a:rPr lang="fr-FR"/>
              <a:t>Cliquez sur l'icône pour ajouter une image</a:t>
            </a:r>
          </a:p>
        </p:txBody>
      </p:sp>
      <p:sp>
        <p:nvSpPr>
          <p:cNvPr id="13" name="Espace réservé pour une image  5">
            <a:extLst>
              <a:ext uri="{FF2B5EF4-FFF2-40B4-BE49-F238E27FC236}">
                <a16:creationId xmlns:a16="http://schemas.microsoft.com/office/drawing/2014/main" id="{FF3AF00B-55F1-29FE-D591-87737A67F87D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423525" y="1411200"/>
            <a:ext cx="1336296" cy="15228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100">
                <a:noFill/>
              </a:defRPr>
            </a:lvl1pPr>
          </a:lstStyle>
          <a:p>
            <a:r>
              <a:rPr lang="fr-FR"/>
              <a:t>Cliquez sur l'icône pour ajouter une image</a:t>
            </a:r>
          </a:p>
        </p:txBody>
      </p:sp>
      <p:sp>
        <p:nvSpPr>
          <p:cNvPr id="14" name="Espace réservé pour une image  5">
            <a:extLst>
              <a:ext uri="{FF2B5EF4-FFF2-40B4-BE49-F238E27FC236}">
                <a16:creationId xmlns:a16="http://schemas.microsoft.com/office/drawing/2014/main" id="{57134139-859A-9F32-DCEF-0050B967C2A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206904" y="1411200"/>
            <a:ext cx="1336296" cy="15228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100">
                <a:noFill/>
              </a:defRPr>
            </a:lvl1pPr>
          </a:lstStyle>
          <a:p>
            <a:r>
              <a:rPr lang="fr-FR"/>
              <a:t>Cliquez sur l'icône pour ajouter une image</a:t>
            </a:r>
          </a:p>
        </p:txBody>
      </p:sp>
      <p:sp>
        <p:nvSpPr>
          <p:cNvPr id="15" name="Espace réservé pour une image  5">
            <a:extLst>
              <a:ext uri="{FF2B5EF4-FFF2-40B4-BE49-F238E27FC236}">
                <a16:creationId xmlns:a16="http://schemas.microsoft.com/office/drawing/2014/main" id="{985398DA-FFEC-6F62-2644-7C26C895E627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990282" y="1411200"/>
            <a:ext cx="1336296" cy="15228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100">
                <a:noFill/>
              </a:defRPr>
            </a:lvl1pPr>
          </a:lstStyle>
          <a:p>
            <a:r>
              <a:rPr lang="fr-FR"/>
              <a:t>Cliquez sur l'icône pour ajouter une image</a:t>
            </a:r>
          </a:p>
        </p:txBody>
      </p:sp>
      <p:sp>
        <p:nvSpPr>
          <p:cNvPr id="16" name="Espace réservé pour une image  5">
            <a:extLst>
              <a:ext uri="{FF2B5EF4-FFF2-40B4-BE49-F238E27FC236}">
                <a16:creationId xmlns:a16="http://schemas.microsoft.com/office/drawing/2014/main" id="{B54E4F5C-B4D5-F4CF-1D1B-59A22381056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2751833" y="3967200"/>
            <a:ext cx="1336296" cy="15228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100">
                <a:noFill/>
              </a:defRPr>
            </a:lvl1pPr>
          </a:lstStyle>
          <a:p>
            <a:r>
              <a:rPr lang="fr-FR"/>
              <a:t>Cliquez sur l'icône pour ajouter une image</a:t>
            </a:r>
          </a:p>
        </p:txBody>
      </p:sp>
      <p:sp>
        <p:nvSpPr>
          <p:cNvPr id="17" name="Espace réservé pour une image  5">
            <a:extLst>
              <a:ext uri="{FF2B5EF4-FFF2-40B4-BE49-F238E27FC236}">
                <a16:creationId xmlns:a16="http://schemas.microsoft.com/office/drawing/2014/main" id="{B362B28D-7D0D-5B31-5A25-03B33E9DF62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536563" y="3967200"/>
            <a:ext cx="1336296" cy="15228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100">
                <a:noFill/>
              </a:defRPr>
            </a:lvl1pPr>
          </a:lstStyle>
          <a:p>
            <a:r>
              <a:rPr lang="fr-FR"/>
              <a:t>Cliquez sur l'icône pour ajouter une image</a:t>
            </a:r>
          </a:p>
        </p:txBody>
      </p:sp>
      <p:sp>
        <p:nvSpPr>
          <p:cNvPr id="18" name="Espace réservé pour une image  5">
            <a:extLst>
              <a:ext uri="{FF2B5EF4-FFF2-40B4-BE49-F238E27FC236}">
                <a16:creationId xmlns:a16="http://schemas.microsoft.com/office/drawing/2014/main" id="{D0EE9E70-FBB3-7650-648D-16630A62325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9491" y="3967200"/>
            <a:ext cx="1336296" cy="15228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100">
                <a:noFill/>
              </a:defRPr>
            </a:lvl1pPr>
          </a:lstStyle>
          <a:p>
            <a:r>
              <a:rPr lang="fr-FR"/>
              <a:t>Cliquez sur l'icône pour ajouter une image</a:t>
            </a:r>
          </a:p>
        </p:txBody>
      </p:sp>
      <p:sp>
        <p:nvSpPr>
          <p:cNvPr id="19" name="Espace réservé pour une image  5">
            <a:extLst>
              <a:ext uri="{FF2B5EF4-FFF2-40B4-BE49-F238E27FC236}">
                <a16:creationId xmlns:a16="http://schemas.microsoft.com/office/drawing/2014/main" id="{96BF5CAB-BC08-8D9B-5AF8-6392EFC704A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102420" y="3967200"/>
            <a:ext cx="1336296" cy="15228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100">
                <a:noFill/>
              </a:defRPr>
            </a:lvl1pPr>
          </a:lstStyle>
          <a:p>
            <a:r>
              <a:rPr lang="fr-FR"/>
              <a:t>Cliquez sur l'icône pour ajouter une image</a:t>
            </a:r>
          </a:p>
        </p:txBody>
      </p:sp>
      <p:sp>
        <p:nvSpPr>
          <p:cNvPr id="25" name="Titre 8">
            <a:extLst>
              <a:ext uri="{FF2B5EF4-FFF2-40B4-BE49-F238E27FC236}">
                <a16:creationId xmlns:a16="http://schemas.microsoft.com/office/drawing/2014/main" id="{11B9679E-83E7-1734-1021-8130BC887E7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035" y="360000"/>
            <a:ext cx="11427931" cy="276999"/>
          </a:xfrm>
        </p:spPr>
        <p:txBody>
          <a:bodyPr/>
          <a:lstStyle>
            <a:lvl1pPr>
              <a:defRPr sz="2000"/>
            </a:lvl1pPr>
          </a:lstStyle>
          <a:p>
            <a:r>
              <a:rPr lang="fr-FR"/>
              <a:t>TITRE DE LA SLIDE</a:t>
            </a:r>
          </a:p>
        </p:txBody>
      </p:sp>
      <p:sp>
        <p:nvSpPr>
          <p:cNvPr id="36" name="Espace réservé de la date 35">
            <a:extLst>
              <a:ext uri="{FF2B5EF4-FFF2-40B4-BE49-F238E27FC236}">
                <a16:creationId xmlns:a16="http://schemas.microsoft.com/office/drawing/2014/main" id="{324662B3-BA9D-CB9D-60DE-697DE9028F53}"/>
              </a:ext>
            </a:extLst>
          </p:cNvPr>
          <p:cNvSpPr>
            <a:spLocks noGrp="1"/>
          </p:cNvSpPr>
          <p:nvPr>
            <p:ph type="dt" sz="half" idx="38"/>
          </p:nvPr>
        </p:nvSpPr>
        <p:spPr/>
        <p:txBody>
          <a:bodyPr/>
          <a:lstStyle/>
          <a:p>
            <a:fld id="{DF342B73-D2B7-D248-96C4-EBEEB6DE26CD}" type="datetimeFigureOut">
              <a:rPr lang="fr-FR" smtClean="0"/>
              <a:pPr/>
              <a:t>04/03/2026</a:t>
            </a:fld>
            <a:endParaRPr lang="fr-FR"/>
          </a:p>
        </p:txBody>
      </p:sp>
      <p:sp>
        <p:nvSpPr>
          <p:cNvPr id="37" name="Espace réservé du pied de page 36">
            <a:extLst>
              <a:ext uri="{FF2B5EF4-FFF2-40B4-BE49-F238E27FC236}">
                <a16:creationId xmlns:a16="http://schemas.microsoft.com/office/drawing/2014/main" id="{5C5DBB25-6663-2A1A-85C2-D6FF6734F624}"/>
              </a:ext>
            </a:extLst>
          </p:cNvPr>
          <p:cNvSpPr>
            <a:spLocks noGrp="1"/>
          </p:cNvSpPr>
          <p:nvPr>
            <p:ph type="ftr" sz="quarter" idx="39"/>
          </p:nvPr>
        </p:nvSpPr>
        <p:spPr/>
        <p:txBody>
          <a:bodyPr/>
          <a:lstStyle/>
          <a:p>
            <a:r>
              <a:rPr lang="fr-FR"/>
              <a:t>-   confidentiel   -</a:t>
            </a:r>
          </a:p>
        </p:txBody>
      </p:sp>
      <p:sp>
        <p:nvSpPr>
          <p:cNvPr id="38" name="Espace réservé du numéro de diapositive 37">
            <a:extLst>
              <a:ext uri="{FF2B5EF4-FFF2-40B4-BE49-F238E27FC236}">
                <a16:creationId xmlns:a16="http://schemas.microsoft.com/office/drawing/2014/main" id="{1874F871-65CF-E88D-52F2-D2565DDD56B1}"/>
              </a:ext>
            </a:extLst>
          </p:cNvPr>
          <p:cNvSpPr>
            <a:spLocks noGrp="1"/>
          </p:cNvSpPr>
          <p:nvPr>
            <p:ph type="sldNum" sz="quarter" idx="40"/>
          </p:nvPr>
        </p:nvSpPr>
        <p:spPr/>
        <p:txBody>
          <a:bodyPr/>
          <a:lstStyle/>
          <a:p>
            <a:fld id="{EAA21038-A716-1548-A84E-A957E2BC7F1C}" type="slidenum">
              <a:rPr lang="fr-FR" smtClean="0"/>
              <a:pPr/>
              <a:t>‹#›</a:t>
            </a:fld>
            <a:endParaRPr lang="fr-FR"/>
          </a:p>
        </p:txBody>
      </p:sp>
      <p:sp>
        <p:nvSpPr>
          <p:cNvPr id="39" name="Espace réservé du texte 17">
            <a:extLst>
              <a:ext uri="{FF2B5EF4-FFF2-40B4-BE49-F238E27FC236}">
                <a16:creationId xmlns:a16="http://schemas.microsoft.com/office/drawing/2014/main" id="{8E86181D-9570-3102-9663-E864D72A916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865422" y="3011294"/>
            <a:ext cx="1325841" cy="623248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sz="1000" b="0">
                <a:solidFill>
                  <a:schemeClr val="bg1"/>
                </a:solidFill>
              </a:defRPr>
            </a:lvl1pPr>
            <a:lvl6pPr>
              <a:lnSpc>
                <a:spcPct val="100000"/>
              </a:lnSpc>
              <a:defRPr sz="1250"/>
            </a:lvl6pPr>
          </a:lstStyle>
          <a:p>
            <a:pPr lvl="5"/>
            <a:r>
              <a:rPr lang="fr-FR"/>
              <a:t>prénom</a:t>
            </a:r>
          </a:p>
          <a:p>
            <a:pPr lvl="5"/>
            <a:r>
              <a:rPr lang="fr-FR"/>
              <a:t>nom</a:t>
            </a:r>
          </a:p>
          <a:p>
            <a:pPr lvl="0"/>
            <a:r>
              <a:rPr lang="fr-FR"/>
              <a:t>POSTE</a:t>
            </a:r>
          </a:p>
        </p:txBody>
      </p:sp>
      <p:sp>
        <p:nvSpPr>
          <p:cNvPr id="40" name="Espace réservé du texte 17">
            <a:extLst>
              <a:ext uri="{FF2B5EF4-FFF2-40B4-BE49-F238E27FC236}">
                <a16:creationId xmlns:a16="http://schemas.microsoft.com/office/drawing/2014/main" id="{2E2B9ED6-7593-470A-1527-19C5C8A8935E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3649251" y="3011294"/>
            <a:ext cx="1325841" cy="623248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sz="1000" b="0">
                <a:solidFill>
                  <a:schemeClr val="bg1"/>
                </a:solidFill>
              </a:defRPr>
            </a:lvl1pPr>
            <a:lvl6pPr>
              <a:lnSpc>
                <a:spcPct val="100000"/>
              </a:lnSpc>
              <a:defRPr sz="1250"/>
            </a:lvl6pPr>
          </a:lstStyle>
          <a:p>
            <a:pPr lvl="5"/>
            <a:r>
              <a:rPr lang="fr-FR"/>
              <a:t>prénom</a:t>
            </a:r>
          </a:p>
          <a:p>
            <a:pPr lvl="5"/>
            <a:r>
              <a:rPr lang="fr-FR"/>
              <a:t>nom</a:t>
            </a:r>
          </a:p>
          <a:p>
            <a:pPr lvl="0"/>
            <a:r>
              <a:rPr lang="fr-FR"/>
              <a:t>POSTE</a:t>
            </a:r>
          </a:p>
        </p:txBody>
      </p:sp>
      <p:sp>
        <p:nvSpPr>
          <p:cNvPr id="41" name="Espace réservé du texte 17">
            <a:extLst>
              <a:ext uri="{FF2B5EF4-FFF2-40B4-BE49-F238E27FC236}">
                <a16:creationId xmlns:a16="http://schemas.microsoft.com/office/drawing/2014/main" id="{9DE10455-94B5-C6BD-C1AC-8925465D8466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433080" y="3011294"/>
            <a:ext cx="1325841" cy="623248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sz="1000" b="0">
                <a:solidFill>
                  <a:schemeClr val="bg1"/>
                </a:solidFill>
              </a:defRPr>
            </a:lvl1pPr>
            <a:lvl6pPr>
              <a:lnSpc>
                <a:spcPct val="100000"/>
              </a:lnSpc>
              <a:defRPr sz="1250"/>
            </a:lvl6pPr>
          </a:lstStyle>
          <a:p>
            <a:pPr lvl="5"/>
            <a:r>
              <a:rPr lang="fr-FR"/>
              <a:t>prénom</a:t>
            </a:r>
          </a:p>
          <a:p>
            <a:pPr lvl="5"/>
            <a:r>
              <a:rPr lang="fr-FR"/>
              <a:t>nom</a:t>
            </a:r>
          </a:p>
          <a:p>
            <a:pPr lvl="0"/>
            <a:r>
              <a:rPr lang="fr-FR"/>
              <a:t>POSTE</a:t>
            </a:r>
          </a:p>
        </p:txBody>
      </p:sp>
      <p:sp>
        <p:nvSpPr>
          <p:cNvPr id="42" name="Espace réservé du texte 17">
            <a:extLst>
              <a:ext uri="{FF2B5EF4-FFF2-40B4-BE49-F238E27FC236}">
                <a16:creationId xmlns:a16="http://schemas.microsoft.com/office/drawing/2014/main" id="{06C01BFF-154F-3F21-3F9D-26A9195F44CE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7216909" y="3011294"/>
            <a:ext cx="1325841" cy="623248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sz="1000" b="0">
                <a:solidFill>
                  <a:schemeClr val="bg1"/>
                </a:solidFill>
              </a:defRPr>
            </a:lvl1pPr>
            <a:lvl6pPr>
              <a:lnSpc>
                <a:spcPct val="100000"/>
              </a:lnSpc>
              <a:defRPr sz="1250"/>
            </a:lvl6pPr>
          </a:lstStyle>
          <a:p>
            <a:pPr lvl="5"/>
            <a:r>
              <a:rPr lang="fr-FR"/>
              <a:t>prénom</a:t>
            </a:r>
          </a:p>
          <a:p>
            <a:pPr lvl="5"/>
            <a:r>
              <a:rPr lang="fr-FR"/>
              <a:t>nom</a:t>
            </a:r>
          </a:p>
          <a:p>
            <a:pPr lvl="0"/>
            <a:r>
              <a:rPr lang="fr-FR"/>
              <a:t>POSTE</a:t>
            </a:r>
          </a:p>
        </p:txBody>
      </p:sp>
      <p:sp>
        <p:nvSpPr>
          <p:cNvPr id="43" name="Espace réservé du texte 17">
            <a:extLst>
              <a:ext uri="{FF2B5EF4-FFF2-40B4-BE49-F238E27FC236}">
                <a16:creationId xmlns:a16="http://schemas.microsoft.com/office/drawing/2014/main" id="{85E75F9B-B4C3-FBD5-47D3-74FA0ADF9F40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9000738" y="3011294"/>
            <a:ext cx="1325841" cy="623248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sz="1000" b="0">
                <a:solidFill>
                  <a:schemeClr val="bg1"/>
                </a:solidFill>
              </a:defRPr>
            </a:lvl1pPr>
            <a:lvl6pPr>
              <a:lnSpc>
                <a:spcPct val="100000"/>
              </a:lnSpc>
              <a:defRPr sz="1250"/>
            </a:lvl6pPr>
          </a:lstStyle>
          <a:p>
            <a:pPr lvl="5"/>
            <a:r>
              <a:rPr lang="fr-FR"/>
              <a:t>prénom</a:t>
            </a:r>
          </a:p>
          <a:p>
            <a:pPr lvl="5"/>
            <a:r>
              <a:rPr lang="fr-FR"/>
              <a:t>nom</a:t>
            </a:r>
          </a:p>
          <a:p>
            <a:pPr lvl="0"/>
            <a:r>
              <a:rPr lang="fr-FR"/>
              <a:t>POSTE</a:t>
            </a:r>
          </a:p>
        </p:txBody>
      </p:sp>
      <p:sp>
        <p:nvSpPr>
          <p:cNvPr id="48" name="Espace réservé du texte 17">
            <a:extLst>
              <a:ext uri="{FF2B5EF4-FFF2-40B4-BE49-F238E27FC236}">
                <a16:creationId xmlns:a16="http://schemas.microsoft.com/office/drawing/2014/main" id="{3E194452-6018-CA00-DFB3-DABF5E8AD283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2751833" y="5567294"/>
            <a:ext cx="1325841" cy="623248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sz="1000" b="0">
                <a:solidFill>
                  <a:schemeClr val="bg1"/>
                </a:solidFill>
              </a:defRPr>
            </a:lvl1pPr>
            <a:lvl6pPr>
              <a:lnSpc>
                <a:spcPct val="100000"/>
              </a:lnSpc>
              <a:defRPr sz="1250"/>
            </a:lvl6pPr>
          </a:lstStyle>
          <a:p>
            <a:pPr lvl="5"/>
            <a:r>
              <a:rPr lang="fr-FR"/>
              <a:t>prénom</a:t>
            </a:r>
          </a:p>
          <a:p>
            <a:pPr lvl="5"/>
            <a:r>
              <a:rPr lang="fr-FR"/>
              <a:t>nom</a:t>
            </a:r>
          </a:p>
          <a:p>
            <a:pPr lvl="0"/>
            <a:r>
              <a:rPr lang="fr-FR"/>
              <a:t>POSTE</a:t>
            </a:r>
          </a:p>
        </p:txBody>
      </p:sp>
      <p:sp>
        <p:nvSpPr>
          <p:cNvPr id="49" name="Espace réservé du texte 17">
            <a:extLst>
              <a:ext uri="{FF2B5EF4-FFF2-40B4-BE49-F238E27FC236}">
                <a16:creationId xmlns:a16="http://schemas.microsoft.com/office/drawing/2014/main" id="{D82C1151-2A11-B15F-C235-BA4A1B673190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4535662" y="5567294"/>
            <a:ext cx="1325841" cy="623248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sz="1000" b="0">
                <a:solidFill>
                  <a:schemeClr val="bg1"/>
                </a:solidFill>
              </a:defRPr>
            </a:lvl1pPr>
            <a:lvl6pPr>
              <a:lnSpc>
                <a:spcPct val="100000"/>
              </a:lnSpc>
              <a:defRPr sz="1250"/>
            </a:lvl6pPr>
          </a:lstStyle>
          <a:p>
            <a:pPr lvl="5"/>
            <a:r>
              <a:rPr lang="fr-FR"/>
              <a:t>prénom</a:t>
            </a:r>
          </a:p>
          <a:p>
            <a:pPr lvl="5"/>
            <a:r>
              <a:rPr lang="fr-FR"/>
              <a:t>nom</a:t>
            </a:r>
          </a:p>
          <a:p>
            <a:pPr lvl="0"/>
            <a:r>
              <a:rPr lang="fr-FR"/>
              <a:t>POSTE</a:t>
            </a:r>
          </a:p>
        </p:txBody>
      </p:sp>
      <p:sp>
        <p:nvSpPr>
          <p:cNvPr id="50" name="Espace réservé du texte 17">
            <a:extLst>
              <a:ext uri="{FF2B5EF4-FFF2-40B4-BE49-F238E27FC236}">
                <a16:creationId xmlns:a16="http://schemas.microsoft.com/office/drawing/2014/main" id="{51652CB8-C41A-52D7-8AC7-8FC8C1AD4C11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6319491" y="5567294"/>
            <a:ext cx="1325841" cy="623248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sz="1000" b="0">
                <a:solidFill>
                  <a:schemeClr val="bg1"/>
                </a:solidFill>
              </a:defRPr>
            </a:lvl1pPr>
            <a:lvl6pPr>
              <a:lnSpc>
                <a:spcPct val="100000"/>
              </a:lnSpc>
              <a:defRPr sz="1250"/>
            </a:lvl6pPr>
          </a:lstStyle>
          <a:p>
            <a:pPr lvl="5"/>
            <a:r>
              <a:rPr lang="fr-FR"/>
              <a:t>prénom</a:t>
            </a:r>
          </a:p>
          <a:p>
            <a:pPr lvl="5"/>
            <a:r>
              <a:rPr lang="fr-FR"/>
              <a:t>nom</a:t>
            </a:r>
          </a:p>
          <a:p>
            <a:pPr lvl="0"/>
            <a:r>
              <a:rPr lang="fr-FR"/>
              <a:t>POSTE</a:t>
            </a:r>
          </a:p>
        </p:txBody>
      </p:sp>
      <p:sp>
        <p:nvSpPr>
          <p:cNvPr id="51" name="Espace réservé du texte 17">
            <a:extLst>
              <a:ext uri="{FF2B5EF4-FFF2-40B4-BE49-F238E27FC236}">
                <a16:creationId xmlns:a16="http://schemas.microsoft.com/office/drawing/2014/main" id="{4BF75E88-8037-AE03-56B2-CC17AD86320B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8103320" y="5567294"/>
            <a:ext cx="1325841" cy="623248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sz="1000" b="0">
                <a:solidFill>
                  <a:schemeClr val="bg1"/>
                </a:solidFill>
              </a:defRPr>
            </a:lvl1pPr>
            <a:lvl6pPr>
              <a:lnSpc>
                <a:spcPct val="100000"/>
              </a:lnSpc>
              <a:defRPr sz="1250"/>
            </a:lvl6pPr>
          </a:lstStyle>
          <a:p>
            <a:pPr lvl="5"/>
            <a:r>
              <a:rPr lang="fr-FR"/>
              <a:t>prénom</a:t>
            </a:r>
          </a:p>
          <a:p>
            <a:pPr lvl="5"/>
            <a:r>
              <a:rPr lang="fr-FR"/>
              <a:t>nom</a:t>
            </a:r>
          </a:p>
          <a:p>
            <a:pPr lvl="0"/>
            <a:r>
              <a:rPr lang="fr-FR"/>
              <a:t>POSTE</a:t>
            </a:r>
          </a:p>
        </p:txBody>
      </p:sp>
    </p:spTree>
    <p:extLst>
      <p:ext uri="{BB962C8B-B14F-4D97-AF65-F5344CB8AC3E}">
        <p14:creationId xmlns:p14="http://schemas.microsoft.com/office/powerpoint/2010/main" val="219774754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blocs image + 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pour une image  5">
            <a:extLst>
              <a:ext uri="{FF2B5EF4-FFF2-40B4-BE49-F238E27FC236}">
                <a16:creationId xmlns:a16="http://schemas.microsoft.com/office/drawing/2014/main" id="{B459A31B-FD1B-C4E9-148C-D2F8600B76C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1"/>
            <a:ext cx="2917520" cy="43624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fr-FR" sz="1000" b="1" cap="all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pPr lvl="0" indent="0">
              <a:buNone/>
            </a:pPr>
            <a:r>
              <a:rPr lang="fr-FR"/>
              <a:t>Cliquez sur l'icône pour ajouter une image</a:t>
            </a:r>
          </a:p>
        </p:txBody>
      </p:sp>
      <p:sp>
        <p:nvSpPr>
          <p:cNvPr id="7" name="Espace réservé pour une image  5">
            <a:extLst>
              <a:ext uri="{FF2B5EF4-FFF2-40B4-BE49-F238E27FC236}">
                <a16:creationId xmlns:a16="http://schemas.microsoft.com/office/drawing/2014/main" id="{1185976F-6AF4-BDCE-380B-FDBFCC5150CD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091493" y="1"/>
            <a:ext cx="2917520" cy="43624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fr-FR" sz="1000" b="1" cap="all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pPr lvl="0" indent="0">
              <a:buNone/>
            </a:pPr>
            <a:r>
              <a:rPr lang="fr-FR"/>
              <a:t>Cliquez sur l'icône pour ajouter une image</a:t>
            </a:r>
          </a:p>
        </p:txBody>
      </p:sp>
      <p:sp>
        <p:nvSpPr>
          <p:cNvPr id="8" name="Espace réservé pour une image  5">
            <a:extLst>
              <a:ext uri="{FF2B5EF4-FFF2-40B4-BE49-F238E27FC236}">
                <a16:creationId xmlns:a16="http://schemas.microsoft.com/office/drawing/2014/main" id="{34568892-E13E-F9DB-8F5A-685268F849D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182986" y="1"/>
            <a:ext cx="2917520" cy="43624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fr-FR" sz="1000" b="1" cap="all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pPr lvl="0" indent="0">
              <a:buNone/>
            </a:pPr>
            <a:r>
              <a:rPr lang="fr-FR"/>
              <a:t>Cliquez sur l'icône pour ajouter une image</a:t>
            </a:r>
          </a:p>
        </p:txBody>
      </p:sp>
      <p:sp>
        <p:nvSpPr>
          <p:cNvPr id="9" name="Espace réservé pour une image  5">
            <a:extLst>
              <a:ext uri="{FF2B5EF4-FFF2-40B4-BE49-F238E27FC236}">
                <a16:creationId xmlns:a16="http://schemas.microsoft.com/office/drawing/2014/main" id="{8DCC521B-CCFB-A596-F2ED-8C614BCF07F3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9274480" y="1"/>
            <a:ext cx="2917520" cy="43624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fr-FR" sz="1000" b="1" cap="all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pPr lvl="0" indent="0">
              <a:buNone/>
            </a:pPr>
            <a:r>
              <a:rPr lang="fr-FR"/>
              <a:t>Cliquez sur l'icône pour ajouter une imag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3F10A16-CF6B-3DC1-1A95-7B6D5295AA6E}"/>
              </a:ext>
            </a:extLst>
          </p:cNvPr>
          <p:cNvSpPr/>
          <p:nvPr userDrawn="1"/>
        </p:nvSpPr>
        <p:spPr>
          <a:xfrm>
            <a:off x="0" y="0"/>
            <a:ext cx="12192000" cy="1055077"/>
          </a:xfrm>
          <a:prstGeom prst="rect">
            <a:avLst/>
          </a:prstGeom>
          <a:gradFill>
            <a:gsLst>
              <a:gs pos="36000">
                <a:srgbClr val="000000"/>
              </a:gs>
              <a:gs pos="0">
                <a:schemeClr val="tx1"/>
              </a:gs>
              <a:gs pos="100000">
                <a:schemeClr val="tx1">
                  <a:alpha val="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900"/>
          </a:p>
        </p:txBody>
      </p:sp>
      <p:sp>
        <p:nvSpPr>
          <p:cNvPr id="16" name="Titre 8">
            <a:extLst>
              <a:ext uri="{FF2B5EF4-FFF2-40B4-BE49-F238E27FC236}">
                <a16:creationId xmlns:a16="http://schemas.microsoft.com/office/drawing/2014/main" id="{14F71CEC-ED70-B8D1-07C7-32C77F53D6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035" y="360000"/>
            <a:ext cx="11427931" cy="276999"/>
          </a:xfrm>
        </p:spPr>
        <p:txBody>
          <a:bodyPr/>
          <a:lstStyle/>
          <a:p>
            <a:r>
              <a:rPr lang="fr-FR"/>
              <a:t>TITRE DE LA SLIDE</a:t>
            </a:r>
          </a:p>
        </p:txBody>
      </p:sp>
      <p:sp>
        <p:nvSpPr>
          <p:cNvPr id="18" name="Espace réservé du texte 17">
            <a:extLst>
              <a:ext uri="{FF2B5EF4-FFF2-40B4-BE49-F238E27FC236}">
                <a16:creationId xmlns:a16="http://schemas.microsoft.com/office/drawing/2014/main" id="{F6DB3E34-4739-2DC6-FA88-18A5AACD9DD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25223" y="4510637"/>
            <a:ext cx="2744976" cy="137842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sz="1400" b="0">
                <a:solidFill>
                  <a:schemeClr val="bg1"/>
                </a:solidFill>
              </a:defRPr>
            </a:lvl1pPr>
          </a:lstStyle>
          <a:p>
            <a:pPr lvl="4"/>
            <a:r>
              <a:rPr lang="fr-FR"/>
              <a:t>Écrire le texte ici.</a:t>
            </a:r>
          </a:p>
          <a:p>
            <a:pPr lvl="0"/>
            <a:r>
              <a:rPr lang="fr-FR"/>
              <a:t>Faire en sorte que le nombre de caractères ne dépasse pas la hauteur de la zone</a:t>
            </a:r>
          </a:p>
        </p:txBody>
      </p:sp>
      <p:sp>
        <p:nvSpPr>
          <p:cNvPr id="19" name="Espace réservé du texte 17">
            <a:extLst>
              <a:ext uri="{FF2B5EF4-FFF2-40B4-BE49-F238E27FC236}">
                <a16:creationId xmlns:a16="http://schemas.microsoft.com/office/drawing/2014/main" id="{B45B784C-FC1D-7078-8C13-8AC559BA7AD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138814" y="4510638"/>
            <a:ext cx="2822877" cy="1378423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sz="1400" b="0">
                <a:solidFill>
                  <a:schemeClr val="bg1"/>
                </a:solidFill>
              </a:defRPr>
            </a:lvl1pPr>
          </a:lstStyle>
          <a:p>
            <a:pPr lvl="4"/>
            <a:r>
              <a:rPr lang="fr-FR"/>
              <a:t>Écrire le texte ici.</a:t>
            </a:r>
          </a:p>
          <a:p>
            <a:pPr lvl="0"/>
            <a:r>
              <a:rPr lang="fr-FR"/>
              <a:t>Faire en sorte que le nombre de caractères ne dépasse pas la hauteur de la zone</a:t>
            </a:r>
          </a:p>
        </p:txBody>
      </p:sp>
      <p:sp>
        <p:nvSpPr>
          <p:cNvPr id="20" name="Espace réservé du texte 17">
            <a:extLst>
              <a:ext uri="{FF2B5EF4-FFF2-40B4-BE49-F238E27FC236}">
                <a16:creationId xmlns:a16="http://schemas.microsoft.com/office/drawing/2014/main" id="{17CF4D05-32FF-E4EA-D615-7244AA4B9F6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230309" y="4510637"/>
            <a:ext cx="2822875" cy="1378423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sz="1400" b="0">
                <a:solidFill>
                  <a:schemeClr val="bg1"/>
                </a:solidFill>
              </a:defRPr>
            </a:lvl1pPr>
          </a:lstStyle>
          <a:p>
            <a:pPr lvl="4"/>
            <a:r>
              <a:rPr lang="fr-FR"/>
              <a:t>Écrire le texte ici.</a:t>
            </a:r>
          </a:p>
          <a:p>
            <a:pPr lvl="0"/>
            <a:r>
              <a:rPr lang="fr-FR"/>
              <a:t>Faire en sorte que le nombre de caractères ne dépasse pas la hauteur de la zone</a:t>
            </a:r>
          </a:p>
        </p:txBody>
      </p:sp>
      <p:sp>
        <p:nvSpPr>
          <p:cNvPr id="21" name="Espace réservé du texte 17">
            <a:extLst>
              <a:ext uri="{FF2B5EF4-FFF2-40B4-BE49-F238E27FC236}">
                <a16:creationId xmlns:a16="http://schemas.microsoft.com/office/drawing/2014/main" id="{0E3EB70B-DA44-D6E8-B152-E7620CBBEA5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321801" y="4510638"/>
            <a:ext cx="2744972" cy="1378422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sz="1400" b="0">
                <a:solidFill>
                  <a:schemeClr val="bg1"/>
                </a:solidFill>
              </a:defRPr>
            </a:lvl1pPr>
          </a:lstStyle>
          <a:p>
            <a:pPr lvl="4"/>
            <a:r>
              <a:rPr lang="fr-FR"/>
              <a:t>Écrire le texte ici.</a:t>
            </a:r>
          </a:p>
          <a:p>
            <a:pPr lvl="0"/>
            <a:r>
              <a:rPr lang="fr-FR"/>
              <a:t>Faire en sorte que le nombre de caractères ne dépasse pas la hauteur de la zone</a:t>
            </a:r>
          </a:p>
        </p:txBody>
      </p:sp>
      <p:sp>
        <p:nvSpPr>
          <p:cNvPr id="22" name="Espace réservé de la date 21">
            <a:extLst>
              <a:ext uri="{FF2B5EF4-FFF2-40B4-BE49-F238E27FC236}">
                <a16:creationId xmlns:a16="http://schemas.microsoft.com/office/drawing/2014/main" id="{5AECE939-3E18-BB2C-670E-B0E13A4A7E97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fld id="{DF342B73-D2B7-D248-96C4-EBEEB6DE26CD}" type="datetimeFigureOut">
              <a:rPr lang="fr-FR" smtClean="0"/>
              <a:pPr/>
              <a:t>04/03/2026</a:t>
            </a:fld>
            <a:endParaRPr lang="fr-FR"/>
          </a:p>
        </p:txBody>
      </p:sp>
      <p:sp>
        <p:nvSpPr>
          <p:cNvPr id="23" name="Espace réservé du pied de page 22">
            <a:extLst>
              <a:ext uri="{FF2B5EF4-FFF2-40B4-BE49-F238E27FC236}">
                <a16:creationId xmlns:a16="http://schemas.microsoft.com/office/drawing/2014/main" id="{73E2ED6B-5229-211B-2E22-8716BEBCDCA5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fr-FR"/>
              <a:t>-   confidentiel   -</a:t>
            </a:r>
          </a:p>
        </p:txBody>
      </p:sp>
      <p:sp>
        <p:nvSpPr>
          <p:cNvPr id="24" name="Espace réservé du numéro de diapositive 23">
            <a:extLst>
              <a:ext uri="{FF2B5EF4-FFF2-40B4-BE49-F238E27FC236}">
                <a16:creationId xmlns:a16="http://schemas.microsoft.com/office/drawing/2014/main" id="{6894B12A-544D-868E-E382-D63F7DCB1AB3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EAA21038-A716-1548-A84E-A957E2BC7F1C}" type="slidenum">
              <a:rPr lang="fr-FR" smtClean="0"/>
              <a:pPr/>
              <a:t>‹#›</a:t>
            </a:fld>
            <a:endParaRPr lang="fr-FR"/>
          </a:p>
        </p:txBody>
      </p:sp>
      <p:sp>
        <p:nvSpPr>
          <p:cNvPr id="25" name="Espace réservé du texte 14">
            <a:extLst>
              <a:ext uri="{FF2B5EF4-FFF2-40B4-BE49-F238E27FC236}">
                <a16:creationId xmlns:a16="http://schemas.microsoft.com/office/drawing/2014/main" id="{A5117A06-B200-2666-B0F5-42AD082B5028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5998" y="4510637"/>
            <a:ext cx="699230" cy="107722"/>
          </a:xfrm>
          <a:gradFill>
            <a:gsLst>
              <a:gs pos="0">
                <a:schemeClr val="bg2"/>
              </a:gs>
              <a:gs pos="100000">
                <a:schemeClr val="bg2">
                  <a:alpha val="0"/>
                </a:schemeClr>
              </a:gs>
            </a:gsLst>
            <a:lin ang="5400000" scaled="1"/>
          </a:gra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6" name="Espace réservé du texte 14">
            <a:extLst>
              <a:ext uri="{FF2B5EF4-FFF2-40B4-BE49-F238E27FC236}">
                <a16:creationId xmlns:a16="http://schemas.microsoft.com/office/drawing/2014/main" id="{B91DFD7B-8356-ABC6-EB1C-4468DBF5D580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004116" y="4510637"/>
            <a:ext cx="699230" cy="107722"/>
          </a:xfrm>
          <a:gradFill>
            <a:gsLst>
              <a:gs pos="0">
                <a:schemeClr val="bg2"/>
              </a:gs>
              <a:gs pos="100000">
                <a:schemeClr val="bg2">
                  <a:alpha val="0"/>
                </a:schemeClr>
              </a:gs>
            </a:gsLst>
            <a:lin ang="5400000" scaled="1"/>
          </a:gra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7" name="Espace réservé du texte 14">
            <a:extLst>
              <a:ext uri="{FF2B5EF4-FFF2-40B4-BE49-F238E27FC236}">
                <a16:creationId xmlns:a16="http://schemas.microsoft.com/office/drawing/2014/main" id="{D21BE4AA-4749-4242-1DC8-A8B067C5D220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9187880" y="4510637"/>
            <a:ext cx="699230" cy="107722"/>
          </a:xfrm>
          <a:gradFill>
            <a:gsLst>
              <a:gs pos="0">
                <a:schemeClr val="bg2"/>
              </a:gs>
              <a:gs pos="100000">
                <a:schemeClr val="bg2">
                  <a:alpha val="0"/>
                </a:schemeClr>
              </a:gs>
            </a:gsLst>
            <a:lin ang="5400000" scaled="1"/>
          </a:gra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153474226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blocs images + 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pour une image  6">
            <a:extLst>
              <a:ext uri="{FF2B5EF4-FFF2-40B4-BE49-F238E27FC236}">
                <a16:creationId xmlns:a16="http://schemas.microsoft.com/office/drawing/2014/main" id="{95A5B34A-B6C4-D57F-9F47-D55BA4E2378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1"/>
            <a:ext cx="3976378" cy="43815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fr-FR" sz="1000" b="1" cap="all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pPr lvl="0" indent="0">
              <a:buNone/>
            </a:pPr>
            <a:r>
              <a:rPr lang="fr-FR"/>
              <a:t>Cliquez sur l'icône pour ajouter une image</a:t>
            </a:r>
          </a:p>
        </p:txBody>
      </p:sp>
      <p:sp>
        <p:nvSpPr>
          <p:cNvPr id="9" name="Espace réservé pour une image  6">
            <a:extLst>
              <a:ext uri="{FF2B5EF4-FFF2-40B4-BE49-F238E27FC236}">
                <a16:creationId xmlns:a16="http://schemas.microsoft.com/office/drawing/2014/main" id="{0CD89648-3591-48C2-CB02-3448C5018A2B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8215622" y="1"/>
            <a:ext cx="3976378" cy="43815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fr-FR" sz="1000" b="1" cap="all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pPr lvl="0" indent="0">
              <a:buNone/>
            </a:pPr>
            <a:r>
              <a:rPr lang="fr-FR"/>
              <a:t>Cliquez sur l'icône pour ajouter une image</a:t>
            </a:r>
          </a:p>
        </p:txBody>
      </p:sp>
      <p:sp>
        <p:nvSpPr>
          <p:cNvPr id="10" name="Espace réservé pour une image  6">
            <a:extLst>
              <a:ext uri="{FF2B5EF4-FFF2-40B4-BE49-F238E27FC236}">
                <a16:creationId xmlns:a16="http://schemas.microsoft.com/office/drawing/2014/main" id="{56C221A1-6639-9FF3-241F-931F1F37BB7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107811" y="1"/>
            <a:ext cx="3976378" cy="43815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fr-FR" sz="1000" b="1" cap="all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pPr lvl="0" indent="0">
              <a:buNone/>
            </a:pPr>
            <a:r>
              <a:rPr lang="fr-FR"/>
              <a:t>Cliquez sur l'icône pour ajouter une image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A63590A-90AB-D761-F839-682907203FCD}"/>
              </a:ext>
            </a:extLst>
          </p:cNvPr>
          <p:cNvSpPr/>
          <p:nvPr userDrawn="1"/>
        </p:nvSpPr>
        <p:spPr>
          <a:xfrm>
            <a:off x="0" y="0"/>
            <a:ext cx="12192000" cy="1090246"/>
          </a:xfrm>
          <a:prstGeom prst="rect">
            <a:avLst/>
          </a:prstGeom>
          <a:gradFill>
            <a:gsLst>
              <a:gs pos="35000">
                <a:srgbClr val="000000"/>
              </a:gs>
              <a:gs pos="0">
                <a:schemeClr val="tx1"/>
              </a:gs>
              <a:gs pos="100000">
                <a:schemeClr val="tx1">
                  <a:alpha val="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900"/>
          </a:p>
        </p:txBody>
      </p:sp>
      <p:sp>
        <p:nvSpPr>
          <p:cNvPr id="3" name="Titre 8">
            <a:extLst>
              <a:ext uri="{FF2B5EF4-FFF2-40B4-BE49-F238E27FC236}">
                <a16:creationId xmlns:a16="http://schemas.microsoft.com/office/drawing/2014/main" id="{E98BAE15-A2BE-E3F5-8184-C77F156723A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035" y="360000"/>
            <a:ext cx="11427931" cy="276999"/>
          </a:xfrm>
        </p:spPr>
        <p:txBody>
          <a:bodyPr/>
          <a:lstStyle/>
          <a:p>
            <a:r>
              <a:rPr lang="fr-FR"/>
              <a:t>TITRE DE LA SLIDE</a:t>
            </a:r>
          </a:p>
        </p:txBody>
      </p:sp>
      <p:sp>
        <p:nvSpPr>
          <p:cNvPr id="6" name="Espace réservé de la date 5">
            <a:extLst>
              <a:ext uri="{FF2B5EF4-FFF2-40B4-BE49-F238E27FC236}">
                <a16:creationId xmlns:a16="http://schemas.microsoft.com/office/drawing/2014/main" id="{72977FF3-82A4-3506-CAFA-AAEF87D5E625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DF342B73-D2B7-D248-96C4-EBEEB6DE26CD}" type="datetimeFigureOut">
              <a:rPr lang="fr-FR" smtClean="0"/>
              <a:pPr/>
              <a:t>04/03/2026</a:t>
            </a:fld>
            <a:endParaRPr lang="fr-FR"/>
          </a:p>
        </p:txBody>
      </p:sp>
      <p:sp>
        <p:nvSpPr>
          <p:cNvPr id="8" name="Espace réservé du pied de page 7">
            <a:extLst>
              <a:ext uri="{FF2B5EF4-FFF2-40B4-BE49-F238E27FC236}">
                <a16:creationId xmlns:a16="http://schemas.microsoft.com/office/drawing/2014/main" id="{3655EE20-15D8-8FEE-F420-1391B61CA41D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fr-FR"/>
              <a:t>-   confidentiel   -</a:t>
            </a:r>
          </a:p>
        </p:txBody>
      </p:sp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FF16D0E4-E8FF-D622-C544-67B55E7B4AAF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EAA21038-A716-1548-A84E-A957E2BC7F1C}" type="slidenum">
              <a:rPr lang="fr-FR" smtClean="0"/>
              <a:pPr/>
              <a:t>‹#›</a:t>
            </a:fld>
            <a:endParaRPr lang="fr-FR"/>
          </a:p>
        </p:txBody>
      </p:sp>
      <p:sp>
        <p:nvSpPr>
          <p:cNvPr id="12" name="Espace réservé du texte 17">
            <a:extLst>
              <a:ext uri="{FF2B5EF4-FFF2-40B4-BE49-F238E27FC236}">
                <a16:creationId xmlns:a16="http://schemas.microsoft.com/office/drawing/2014/main" id="{E2F347E5-8CFF-2914-1E0E-D46D526AF51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25223" y="4510637"/>
            <a:ext cx="3719292" cy="1736261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sz="1400" b="0">
                <a:solidFill>
                  <a:schemeClr val="bg1"/>
                </a:solidFill>
              </a:defRPr>
            </a:lvl1pPr>
          </a:lstStyle>
          <a:p>
            <a:pPr lvl="4"/>
            <a:r>
              <a:rPr lang="fr-FR"/>
              <a:t>Écrire le texte ici.</a:t>
            </a:r>
          </a:p>
          <a:p>
            <a:pPr lvl="0"/>
            <a:r>
              <a:rPr lang="fr-FR"/>
              <a:t>Faire en sorte que le nombre de caractères ne dépasse pas la hauteur de la zone</a:t>
            </a:r>
          </a:p>
        </p:txBody>
      </p:sp>
      <p:sp>
        <p:nvSpPr>
          <p:cNvPr id="14" name="Espace réservé du texte 17">
            <a:extLst>
              <a:ext uri="{FF2B5EF4-FFF2-40B4-BE49-F238E27FC236}">
                <a16:creationId xmlns:a16="http://schemas.microsoft.com/office/drawing/2014/main" id="{4AA94394-24B9-F615-0483-04C7E84B63C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233198" y="4510637"/>
            <a:ext cx="3719292" cy="1736261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sz="1400" b="0">
                <a:solidFill>
                  <a:schemeClr val="bg1"/>
                </a:solidFill>
              </a:defRPr>
            </a:lvl1pPr>
          </a:lstStyle>
          <a:p>
            <a:pPr lvl="4"/>
            <a:r>
              <a:rPr lang="fr-FR"/>
              <a:t>Écrire le texte ici.</a:t>
            </a:r>
          </a:p>
          <a:p>
            <a:pPr lvl="0"/>
            <a:r>
              <a:rPr lang="fr-FR"/>
              <a:t>Faire en sorte que le nombre de caractères ne dépasse pas la hauteur de la zone</a:t>
            </a:r>
          </a:p>
        </p:txBody>
      </p:sp>
      <p:sp>
        <p:nvSpPr>
          <p:cNvPr id="15" name="Espace réservé du texte 17">
            <a:extLst>
              <a:ext uri="{FF2B5EF4-FFF2-40B4-BE49-F238E27FC236}">
                <a16:creationId xmlns:a16="http://schemas.microsoft.com/office/drawing/2014/main" id="{839EE10E-AF34-6A47-A881-9D0A07237A7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341172" y="4510637"/>
            <a:ext cx="3719292" cy="1736261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sz="1400" b="0">
                <a:solidFill>
                  <a:schemeClr val="bg1"/>
                </a:solidFill>
              </a:defRPr>
            </a:lvl1pPr>
          </a:lstStyle>
          <a:p>
            <a:pPr lvl="4"/>
            <a:r>
              <a:rPr lang="fr-FR"/>
              <a:t>Écrire le texte ici.</a:t>
            </a:r>
          </a:p>
          <a:p>
            <a:pPr lvl="0"/>
            <a:r>
              <a:rPr lang="fr-FR"/>
              <a:t>Faire en sorte que le nombre de caractères ne dépasse pas la hauteur de la zone</a:t>
            </a:r>
          </a:p>
        </p:txBody>
      </p:sp>
      <p:sp>
        <p:nvSpPr>
          <p:cNvPr id="18" name="Espace réservé du texte 14">
            <a:extLst>
              <a:ext uri="{FF2B5EF4-FFF2-40B4-BE49-F238E27FC236}">
                <a16:creationId xmlns:a16="http://schemas.microsoft.com/office/drawing/2014/main" id="{5C2C75FE-B0DF-CC71-CC14-D3A16A9C7631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4034354" y="4530017"/>
            <a:ext cx="699230" cy="107722"/>
          </a:xfrm>
          <a:gradFill>
            <a:gsLst>
              <a:gs pos="0">
                <a:schemeClr val="bg2"/>
              </a:gs>
              <a:gs pos="100000">
                <a:schemeClr val="bg2">
                  <a:alpha val="0"/>
                </a:schemeClr>
              </a:gs>
            </a:gsLst>
            <a:lin ang="5400000" scaled="1"/>
          </a:gra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2" name="Espace réservé du texte 14">
            <a:extLst>
              <a:ext uri="{FF2B5EF4-FFF2-40B4-BE49-F238E27FC236}">
                <a16:creationId xmlns:a16="http://schemas.microsoft.com/office/drawing/2014/main" id="{7914A147-CAC6-299A-AF22-E2516E7416A6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8142328" y="4530017"/>
            <a:ext cx="699230" cy="107722"/>
          </a:xfrm>
          <a:gradFill>
            <a:gsLst>
              <a:gs pos="0">
                <a:schemeClr val="bg1"/>
              </a:gs>
              <a:gs pos="100000">
                <a:schemeClr val="bg2">
                  <a:alpha val="0"/>
                </a:schemeClr>
              </a:gs>
            </a:gsLst>
            <a:lin ang="5400000" scaled="1"/>
          </a:gra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285143802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blocs images + 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pour une image  6">
            <a:extLst>
              <a:ext uri="{FF2B5EF4-FFF2-40B4-BE49-F238E27FC236}">
                <a16:creationId xmlns:a16="http://schemas.microsoft.com/office/drawing/2014/main" id="{86F7A347-AFC0-626E-C90D-43FE76954813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86657" y="1"/>
            <a:ext cx="6005343" cy="43815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fr-FR" sz="1000" b="1" cap="all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pPr lvl="0" indent="0">
              <a:buNone/>
            </a:pPr>
            <a:r>
              <a:rPr lang="fr-FR"/>
              <a:t>Cliquez sur l'icône pour ajouter une image</a:t>
            </a:r>
          </a:p>
        </p:txBody>
      </p:sp>
      <p:sp>
        <p:nvSpPr>
          <p:cNvPr id="7" name="Espace réservé pour une image  6">
            <a:extLst>
              <a:ext uri="{FF2B5EF4-FFF2-40B4-BE49-F238E27FC236}">
                <a16:creationId xmlns:a16="http://schemas.microsoft.com/office/drawing/2014/main" id="{95A5B34A-B6C4-D57F-9F47-D55BA4E2378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1"/>
            <a:ext cx="6005343" cy="43815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fr-FR" sz="1000" b="1" cap="all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pPr lvl="0" indent="0">
              <a:buNone/>
            </a:pPr>
            <a:r>
              <a:rPr lang="fr-FR"/>
              <a:t>Cliquez sur l'icône pour ajouter une image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A63590A-90AB-D761-F839-682907203FCD}"/>
              </a:ext>
            </a:extLst>
          </p:cNvPr>
          <p:cNvSpPr/>
          <p:nvPr userDrawn="1"/>
        </p:nvSpPr>
        <p:spPr>
          <a:xfrm>
            <a:off x="0" y="0"/>
            <a:ext cx="12192000" cy="1090246"/>
          </a:xfrm>
          <a:prstGeom prst="rect">
            <a:avLst/>
          </a:prstGeom>
          <a:gradFill>
            <a:gsLst>
              <a:gs pos="35000">
                <a:srgbClr val="000000"/>
              </a:gs>
              <a:gs pos="0">
                <a:schemeClr val="tx1"/>
              </a:gs>
              <a:gs pos="100000">
                <a:schemeClr val="tx1">
                  <a:alpha val="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900"/>
          </a:p>
        </p:txBody>
      </p:sp>
      <p:sp>
        <p:nvSpPr>
          <p:cNvPr id="6" name="Titre 8">
            <a:extLst>
              <a:ext uri="{FF2B5EF4-FFF2-40B4-BE49-F238E27FC236}">
                <a16:creationId xmlns:a16="http://schemas.microsoft.com/office/drawing/2014/main" id="{755C22A3-4A9C-B7F2-1B8C-A40EAB20918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035" y="360000"/>
            <a:ext cx="11427931" cy="276999"/>
          </a:xfrm>
        </p:spPr>
        <p:txBody>
          <a:bodyPr/>
          <a:lstStyle/>
          <a:p>
            <a:r>
              <a:rPr lang="fr-FR"/>
              <a:t>TITRE DE LA SLIDE</a:t>
            </a:r>
          </a:p>
        </p:txBody>
      </p:sp>
      <p:sp>
        <p:nvSpPr>
          <p:cNvPr id="9" name="Espace réservé du texte 17">
            <a:extLst>
              <a:ext uri="{FF2B5EF4-FFF2-40B4-BE49-F238E27FC236}">
                <a16:creationId xmlns:a16="http://schemas.microsoft.com/office/drawing/2014/main" id="{A53ABEA2-65DA-69C8-34A7-6716584B7D9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25223" y="4530017"/>
            <a:ext cx="5747154" cy="1716881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sz="1400" b="0">
                <a:solidFill>
                  <a:schemeClr val="bg1"/>
                </a:solidFill>
              </a:defRPr>
            </a:lvl1pPr>
          </a:lstStyle>
          <a:p>
            <a:pPr lvl="4"/>
            <a:r>
              <a:rPr lang="fr-FR"/>
              <a:t>Écrire le texte ici.</a:t>
            </a:r>
          </a:p>
          <a:p>
            <a:pPr lvl="0"/>
            <a:r>
              <a:rPr lang="fr-FR"/>
              <a:t>Faire en sorte que le nombre de caractères ne dépasse pas la hauteur de la zone</a:t>
            </a:r>
          </a:p>
        </p:txBody>
      </p:sp>
      <p:sp>
        <p:nvSpPr>
          <p:cNvPr id="10" name="Espace réservé du texte 17">
            <a:extLst>
              <a:ext uri="{FF2B5EF4-FFF2-40B4-BE49-F238E27FC236}">
                <a16:creationId xmlns:a16="http://schemas.microsoft.com/office/drawing/2014/main" id="{7BAC64E2-7342-DF6E-0B36-8E9DE90E69F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31815" y="4530017"/>
            <a:ext cx="5747154" cy="1716881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sz="1400" b="0">
                <a:solidFill>
                  <a:schemeClr val="bg1"/>
                </a:solidFill>
              </a:defRPr>
            </a:lvl1pPr>
          </a:lstStyle>
          <a:p>
            <a:pPr lvl="4"/>
            <a:r>
              <a:rPr lang="fr-FR"/>
              <a:t>Écrire le texte ici.</a:t>
            </a:r>
          </a:p>
          <a:p>
            <a:pPr lvl="0"/>
            <a:r>
              <a:rPr lang="fr-FR"/>
              <a:t>Faire en sorte que le nombre de caractères ne dépasse pas la hauteur de la zone</a:t>
            </a:r>
          </a:p>
        </p:txBody>
      </p:sp>
      <p:sp>
        <p:nvSpPr>
          <p:cNvPr id="11" name="Espace réservé de la date 10">
            <a:extLst>
              <a:ext uri="{FF2B5EF4-FFF2-40B4-BE49-F238E27FC236}">
                <a16:creationId xmlns:a16="http://schemas.microsoft.com/office/drawing/2014/main" id="{1CCBCE61-73DC-5385-1AEE-AD6EE6693CAA}"/>
              </a:ext>
            </a:extLst>
          </p:cNvPr>
          <p:cNvSpPr>
            <a:spLocks noGrp="1"/>
          </p:cNvSpPr>
          <p:nvPr>
            <p:ph type="dt" sz="half" idx="21"/>
          </p:nvPr>
        </p:nvSpPr>
        <p:spPr/>
        <p:txBody>
          <a:bodyPr/>
          <a:lstStyle/>
          <a:p>
            <a:fld id="{DF342B73-D2B7-D248-96C4-EBEEB6DE26CD}" type="datetimeFigureOut">
              <a:rPr lang="fr-FR" smtClean="0"/>
              <a:pPr/>
              <a:t>04/03/2026</a:t>
            </a:fld>
            <a:endParaRPr lang="fr-FR"/>
          </a:p>
        </p:txBody>
      </p:sp>
      <p:sp>
        <p:nvSpPr>
          <p:cNvPr id="12" name="Espace réservé du pied de page 11">
            <a:extLst>
              <a:ext uri="{FF2B5EF4-FFF2-40B4-BE49-F238E27FC236}">
                <a16:creationId xmlns:a16="http://schemas.microsoft.com/office/drawing/2014/main" id="{55BD5F5B-DF71-245E-3911-05D1C1BD7D3C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r>
              <a:rPr lang="fr-FR"/>
              <a:t>-   confidentiel   -</a:t>
            </a:r>
          </a:p>
        </p:txBody>
      </p:sp>
      <p:sp>
        <p:nvSpPr>
          <p:cNvPr id="13" name="Espace réservé du numéro de diapositive 12">
            <a:extLst>
              <a:ext uri="{FF2B5EF4-FFF2-40B4-BE49-F238E27FC236}">
                <a16:creationId xmlns:a16="http://schemas.microsoft.com/office/drawing/2014/main" id="{69942B4D-C8A2-8076-F8D0-EFE1F0579EB9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EAA21038-A716-1548-A84E-A957E2BC7F1C}" type="slidenum">
              <a:rPr lang="fr-FR" smtClean="0"/>
              <a:pPr/>
              <a:t>‹#›</a:t>
            </a:fld>
            <a:endParaRPr lang="fr-FR"/>
          </a:p>
        </p:txBody>
      </p:sp>
      <p:sp>
        <p:nvSpPr>
          <p:cNvPr id="18" name="Espace réservé du texte 14">
            <a:extLst>
              <a:ext uri="{FF2B5EF4-FFF2-40B4-BE49-F238E27FC236}">
                <a16:creationId xmlns:a16="http://schemas.microsoft.com/office/drawing/2014/main" id="{EA2013F7-3088-94F0-EAB4-FDBDF93548ED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101348" y="4530017"/>
            <a:ext cx="699230" cy="107722"/>
          </a:xfrm>
          <a:gradFill>
            <a:gsLst>
              <a:gs pos="0">
                <a:schemeClr val="bg1"/>
              </a:gs>
              <a:gs pos="100000">
                <a:schemeClr val="bg2">
                  <a:alpha val="0"/>
                </a:schemeClr>
              </a:gs>
            </a:gsLst>
            <a:lin ang="5400000" scaled="1"/>
          </a:gra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357398699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fullscreen + 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pour une image  2">
            <a:extLst>
              <a:ext uri="{FF2B5EF4-FFF2-40B4-BE49-F238E27FC236}">
                <a16:creationId xmlns:a16="http://schemas.microsoft.com/office/drawing/2014/main" id="{E4DAEF8D-BE60-B629-0EAF-55EAF25DB13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 vert="horz" lIns="180000" tIns="180000" rIns="0" bIns="0" rtlCol="0">
            <a:noAutofit/>
          </a:bodyPr>
          <a:lstStyle>
            <a:lvl1pPr>
              <a:defRPr lang="fr-FR" sz="1000" b="1" cap="all" dirty="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pPr lvl="0" indent="0">
              <a:buNone/>
            </a:pPr>
            <a:r>
              <a:rPr lang="fr-FR"/>
              <a:t>Cliquez sur l'icône pour ajouter une imag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369350B1-9713-C6BB-3605-56A81D129E73}"/>
              </a:ext>
            </a:extLst>
          </p:cNvPr>
          <p:cNvSpPr/>
          <p:nvPr userDrawn="1"/>
        </p:nvSpPr>
        <p:spPr>
          <a:xfrm>
            <a:off x="0" y="0"/>
            <a:ext cx="12192000" cy="1055077"/>
          </a:xfrm>
          <a:prstGeom prst="rect">
            <a:avLst/>
          </a:prstGeom>
          <a:gradFill>
            <a:gsLst>
              <a:gs pos="0">
                <a:schemeClr val="tx1"/>
              </a:gs>
              <a:gs pos="35000">
                <a:srgbClr val="000000"/>
              </a:gs>
              <a:gs pos="100000">
                <a:schemeClr val="tx1">
                  <a:alpha val="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900"/>
          </a:p>
        </p:txBody>
      </p:sp>
      <p:sp>
        <p:nvSpPr>
          <p:cNvPr id="7" name="Titre 8">
            <a:extLst>
              <a:ext uri="{FF2B5EF4-FFF2-40B4-BE49-F238E27FC236}">
                <a16:creationId xmlns:a16="http://schemas.microsoft.com/office/drawing/2014/main" id="{30B3AEA9-B129-F439-B39B-B2E001B5CB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035" y="360000"/>
            <a:ext cx="11427931" cy="276999"/>
          </a:xfrm>
        </p:spPr>
        <p:txBody>
          <a:bodyPr/>
          <a:lstStyle/>
          <a:p>
            <a:r>
              <a:rPr lang="fr-FR"/>
              <a:t>TITRE DE LA SLIDE</a:t>
            </a:r>
          </a:p>
        </p:txBody>
      </p:sp>
      <p:sp>
        <p:nvSpPr>
          <p:cNvPr id="10" name="Espace réservé du texte 17">
            <a:extLst>
              <a:ext uri="{FF2B5EF4-FFF2-40B4-BE49-F238E27FC236}">
                <a16:creationId xmlns:a16="http://schemas.microsoft.com/office/drawing/2014/main" id="{23D4E4A8-58CE-6C25-7C71-7FE0D50B0ED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542153" y="2308303"/>
            <a:ext cx="3811647" cy="3746809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sz="1400" b="0">
                <a:solidFill>
                  <a:schemeClr val="bg1"/>
                </a:solidFill>
              </a:defRPr>
            </a:lvl1pPr>
          </a:lstStyle>
          <a:p>
            <a:pPr lvl="6"/>
            <a:r>
              <a:rPr lang="fr-FR"/>
              <a:t>Écrire le texte ici.</a:t>
            </a:r>
          </a:p>
          <a:p>
            <a:pPr lvl="0"/>
            <a:r>
              <a:rPr lang="fr-FR"/>
              <a:t>Faire en sorte que le nombre de caractères ne dépasse pas la hauteur de la zone</a:t>
            </a:r>
          </a:p>
        </p:txBody>
      </p:sp>
      <p:sp>
        <p:nvSpPr>
          <p:cNvPr id="11" name="Espace réservé de la date 10">
            <a:extLst>
              <a:ext uri="{FF2B5EF4-FFF2-40B4-BE49-F238E27FC236}">
                <a16:creationId xmlns:a16="http://schemas.microsoft.com/office/drawing/2014/main" id="{69C18F61-5611-9AF4-CF0C-EF952F1F05D2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DF342B73-D2B7-D248-96C4-EBEEB6DE26CD}" type="datetimeFigureOut">
              <a:rPr lang="fr-FR" smtClean="0"/>
              <a:pPr/>
              <a:t>04/03/2026</a:t>
            </a:fld>
            <a:endParaRPr lang="fr-FR"/>
          </a:p>
        </p:txBody>
      </p:sp>
      <p:sp>
        <p:nvSpPr>
          <p:cNvPr id="12" name="Espace réservé du pied de page 11">
            <a:extLst>
              <a:ext uri="{FF2B5EF4-FFF2-40B4-BE49-F238E27FC236}">
                <a16:creationId xmlns:a16="http://schemas.microsoft.com/office/drawing/2014/main" id="{A2FF5ED0-88EC-CDE1-033D-6484ECDCC00E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fr-FR"/>
              <a:t>-   confidentiel   -</a:t>
            </a:r>
          </a:p>
        </p:txBody>
      </p:sp>
      <p:sp>
        <p:nvSpPr>
          <p:cNvPr id="13" name="Espace réservé du numéro de diapositive 12">
            <a:extLst>
              <a:ext uri="{FF2B5EF4-FFF2-40B4-BE49-F238E27FC236}">
                <a16:creationId xmlns:a16="http://schemas.microsoft.com/office/drawing/2014/main" id="{BBF28118-2CDE-B2F3-9172-B6310582F5B4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EAA21038-A716-1548-A84E-A957E2BC7F1C}" type="slidenum">
              <a:rPr lang="fr-FR" smtClean="0"/>
              <a:pPr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90291022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re Belie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pour une image  2">
            <a:extLst>
              <a:ext uri="{FF2B5EF4-FFF2-40B4-BE49-F238E27FC236}">
                <a16:creationId xmlns:a16="http://schemas.microsoft.com/office/drawing/2014/main" id="{E4DAEF8D-BE60-B629-0EAF-55EAF25DB13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 vert="horz" lIns="180000" tIns="180000" rIns="0" bIns="0" rtlCol="0">
            <a:noAutofit/>
          </a:bodyPr>
          <a:lstStyle>
            <a:lvl1pPr>
              <a:defRPr lang="fr-FR" sz="1000" b="1" cap="all" dirty="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pPr lvl="0" indent="0">
              <a:buNone/>
            </a:pPr>
            <a:r>
              <a:rPr lang="fr-FR"/>
              <a:t>Cliquez sur l'icône pour ajouter une image</a:t>
            </a:r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1B888D26-C283-03F3-8D88-3BB60C320B4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728949" y="2728349"/>
            <a:ext cx="4625209" cy="3502122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r">
              <a:lnSpc>
                <a:spcPct val="100000"/>
              </a:lnSpc>
              <a:buFontTx/>
              <a:buNone/>
              <a:defRPr sz="4500" b="1" i="1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fr-FR"/>
              <a:t>entrer le texte ici</a:t>
            </a:r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3E1F5E85-F946-459B-8F10-CC96D67DCA4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34257" y="1347432"/>
            <a:ext cx="5819543" cy="1246495"/>
          </a:xfrm>
          <a:prstGeom prst="rect">
            <a:avLst/>
          </a:prstGeom>
        </p:spPr>
        <p:txBody>
          <a:bodyPr wrap="none" anchor="b">
            <a:spAutoFit/>
          </a:bodyPr>
          <a:lstStyle>
            <a:lvl1pPr indent="0" algn="r">
              <a:buFontTx/>
              <a:buNone/>
              <a:defRPr sz="7500" b="1" i="1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fr-FR"/>
              <a:t>#NUMÉRO</a:t>
            </a:r>
          </a:p>
        </p:txBody>
      </p:sp>
      <p:sp>
        <p:nvSpPr>
          <p:cNvPr id="2" name="Titre 8">
            <a:extLst>
              <a:ext uri="{FF2B5EF4-FFF2-40B4-BE49-F238E27FC236}">
                <a16:creationId xmlns:a16="http://schemas.microsoft.com/office/drawing/2014/main" id="{7A35675B-E0EF-B03F-BA2C-5CC95C341A4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035" y="360000"/>
            <a:ext cx="11427931" cy="276999"/>
          </a:xfrm>
        </p:spPr>
        <p:txBody>
          <a:bodyPr/>
          <a:lstStyle/>
          <a:p>
            <a:r>
              <a:rPr lang="fr-FR"/>
              <a:t>TITRE DE LA SLIDE</a:t>
            </a:r>
          </a:p>
        </p:txBody>
      </p:sp>
    </p:spTree>
    <p:extLst>
      <p:ext uri="{BB962C8B-B14F-4D97-AF65-F5344CB8AC3E}">
        <p14:creationId xmlns:p14="http://schemas.microsoft.com/office/powerpoint/2010/main" val="94991164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3 blocs images + 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pour une image  6">
            <a:extLst>
              <a:ext uri="{FF2B5EF4-FFF2-40B4-BE49-F238E27FC236}">
                <a16:creationId xmlns:a16="http://schemas.microsoft.com/office/drawing/2014/main" id="{95A5B34A-B6C4-D57F-9F47-D55BA4E2378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275749" y="1126508"/>
            <a:ext cx="3622261" cy="1636573"/>
          </a:xfrm>
          <a:prstGeom prst="rect">
            <a:avLst/>
          </a:prstGeom>
        </p:spPr>
        <p:txBody>
          <a:bodyPr vert="horz" lIns="72000" tIns="0" rIns="0" bIns="0" rtlCol="0">
            <a:noAutofit/>
          </a:bodyPr>
          <a:lstStyle>
            <a:lvl1pPr>
              <a:defRPr lang="fr-FR" sz="1000" b="1" cap="all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pPr lvl="0" indent="0">
              <a:buNone/>
            </a:pPr>
            <a:r>
              <a:rPr lang="fr-FR"/>
              <a:t>Cliquez sur l'icône pour ajouter une image</a:t>
            </a:r>
          </a:p>
        </p:txBody>
      </p:sp>
      <p:sp>
        <p:nvSpPr>
          <p:cNvPr id="2" name="Espace réservé pour une image  6">
            <a:extLst>
              <a:ext uri="{FF2B5EF4-FFF2-40B4-BE49-F238E27FC236}">
                <a16:creationId xmlns:a16="http://schemas.microsoft.com/office/drawing/2014/main" id="{9F6EFE61-2134-F948-5B86-A04C13F80AE5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275749" y="2905613"/>
            <a:ext cx="3622261" cy="1636573"/>
          </a:xfrm>
          <a:prstGeom prst="rect">
            <a:avLst/>
          </a:prstGeom>
        </p:spPr>
        <p:txBody>
          <a:bodyPr vert="horz" lIns="72000" tIns="0" rIns="0" bIns="0" rtlCol="0">
            <a:noAutofit/>
          </a:bodyPr>
          <a:lstStyle>
            <a:lvl1pPr>
              <a:defRPr lang="fr-FR" sz="1000" b="1" cap="all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pPr lvl="0" indent="0">
              <a:buNone/>
            </a:pPr>
            <a:r>
              <a:rPr lang="fr-FR"/>
              <a:t>Cliquez sur l'icône pour ajouter une image</a:t>
            </a:r>
          </a:p>
        </p:txBody>
      </p:sp>
      <p:sp>
        <p:nvSpPr>
          <p:cNvPr id="3" name="Espace réservé pour une image  6">
            <a:extLst>
              <a:ext uri="{FF2B5EF4-FFF2-40B4-BE49-F238E27FC236}">
                <a16:creationId xmlns:a16="http://schemas.microsoft.com/office/drawing/2014/main" id="{128DFB5D-C00E-49C6-2729-0246E05B2757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1275749" y="4684717"/>
            <a:ext cx="3622261" cy="1636573"/>
          </a:xfrm>
          <a:prstGeom prst="rect">
            <a:avLst/>
          </a:prstGeom>
        </p:spPr>
        <p:txBody>
          <a:bodyPr vert="horz" lIns="72000" tIns="0" rIns="0" bIns="0" rtlCol="0">
            <a:noAutofit/>
          </a:bodyPr>
          <a:lstStyle>
            <a:lvl1pPr>
              <a:defRPr lang="fr-FR" sz="1000" b="1" cap="all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pPr lvl="0" indent="0">
              <a:buNone/>
            </a:pPr>
            <a:r>
              <a:rPr lang="fr-FR"/>
              <a:t>Cliquez sur l'icône pour ajouter une image</a:t>
            </a:r>
          </a:p>
        </p:txBody>
      </p:sp>
      <p:sp>
        <p:nvSpPr>
          <p:cNvPr id="10" name="Titre 8">
            <a:extLst>
              <a:ext uri="{FF2B5EF4-FFF2-40B4-BE49-F238E27FC236}">
                <a16:creationId xmlns:a16="http://schemas.microsoft.com/office/drawing/2014/main" id="{7926AC11-55F3-F79E-14AB-1BB4777321D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035" y="360000"/>
            <a:ext cx="11427931" cy="276999"/>
          </a:xfrm>
        </p:spPr>
        <p:txBody>
          <a:bodyPr/>
          <a:lstStyle/>
          <a:p>
            <a:r>
              <a:rPr lang="fr-FR"/>
              <a:t>TITRE DE LA SLIDE</a:t>
            </a:r>
          </a:p>
        </p:txBody>
      </p:sp>
      <p:sp>
        <p:nvSpPr>
          <p:cNvPr id="12" name="Espace réservé du texte 17">
            <a:extLst>
              <a:ext uri="{FF2B5EF4-FFF2-40B4-BE49-F238E27FC236}">
                <a16:creationId xmlns:a16="http://schemas.microsoft.com/office/drawing/2014/main" id="{A9957E62-AD85-0EEA-E45D-D2A8798462B8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5317513" y="1126508"/>
            <a:ext cx="3682537" cy="1636573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sz="1400" b="0">
                <a:solidFill>
                  <a:schemeClr val="bg1"/>
                </a:solidFill>
              </a:defRPr>
            </a:lvl1pPr>
          </a:lstStyle>
          <a:p>
            <a:pPr lvl="4"/>
            <a:r>
              <a:rPr lang="fr-FR"/>
              <a:t>Écrire le texte ici.</a:t>
            </a:r>
          </a:p>
          <a:p>
            <a:pPr lvl="0"/>
            <a:r>
              <a:rPr lang="fr-FR"/>
              <a:t>Faire en sorte que le nombre de caractères ne dépasse pas la hauteur de la zone</a:t>
            </a:r>
          </a:p>
        </p:txBody>
      </p:sp>
      <p:sp>
        <p:nvSpPr>
          <p:cNvPr id="13" name="Espace réservé du texte 17">
            <a:extLst>
              <a:ext uri="{FF2B5EF4-FFF2-40B4-BE49-F238E27FC236}">
                <a16:creationId xmlns:a16="http://schemas.microsoft.com/office/drawing/2014/main" id="{0AE8C481-D3D5-2C4E-2DAC-0D5A37A3DDB6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5317513" y="2911533"/>
            <a:ext cx="3682537" cy="1636573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sz="1400" b="0">
                <a:solidFill>
                  <a:schemeClr val="bg1"/>
                </a:solidFill>
              </a:defRPr>
            </a:lvl1pPr>
          </a:lstStyle>
          <a:p>
            <a:pPr lvl="4"/>
            <a:r>
              <a:rPr lang="fr-FR"/>
              <a:t>Écrire le texte ici.</a:t>
            </a:r>
          </a:p>
          <a:p>
            <a:pPr lvl="0"/>
            <a:r>
              <a:rPr lang="fr-FR"/>
              <a:t>Faire en sorte que le nombre de caractères ne dépasse pas la hauteur de la zone</a:t>
            </a:r>
          </a:p>
        </p:txBody>
      </p:sp>
      <p:sp>
        <p:nvSpPr>
          <p:cNvPr id="14" name="Espace réservé du texte 17">
            <a:extLst>
              <a:ext uri="{FF2B5EF4-FFF2-40B4-BE49-F238E27FC236}">
                <a16:creationId xmlns:a16="http://schemas.microsoft.com/office/drawing/2014/main" id="{FB030DD3-8F84-B1E6-3401-D9010A4EEE76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317513" y="4686545"/>
            <a:ext cx="3682537" cy="1636573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sz="1400" b="0">
                <a:solidFill>
                  <a:schemeClr val="bg1"/>
                </a:solidFill>
              </a:defRPr>
            </a:lvl1pPr>
          </a:lstStyle>
          <a:p>
            <a:pPr lvl="4"/>
            <a:r>
              <a:rPr lang="fr-FR"/>
              <a:t>Écrire le texte ici.</a:t>
            </a:r>
          </a:p>
          <a:p>
            <a:pPr lvl="0"/>
            <a:r>
              <a:rPr lang="fr-FR"/>
              <a:t>Faire en sorte que le nombre de caractères ne dépasse pas la hauteur de la zone</a:t>
            </a:r>
          </a:p>
        </p:txBody>
      </p:sp>
      <p:sp>
        <p:nvSpPr>
          <p:cNvPr id="15" name="Espace réservé de la date 14">
            <a:extLst>
              <a:ext uri="{FF2B5EF4-FFF2-40B4-BE49-F238E27FC236}">
                <a16:creationId xmlns:a16="http://schemas.microsoft.com/office/drawing/2014/main" id="{56BEDCFA-02FB-7EBF-C328-EAC05F1F7FA1}"/>
              </a:ext>
            </a:extLst>
          </p:cNvPr>
          <p:cNvSpPr>
            <a:spLocks noGrp="1"/>
          </p:cNvSpPr>
          <p:nvPr>
            <p:ph type="dt" sz="half" idx="34"/>
          </p:nvPr>
        </p:nvSpPr>
        <p:spPr/>
        <p:txBody>
          <a:bodyPr/>
          <a:lstStyle/>
          <a:p>
            <a:fld id="{DF342B73-D2B7-D248-96C4-EBEEB6DE26CD}" type="datetimeFigureOut">
              <a:rPr lang="fr-FR" smtClean="0"/>
              <a:pPr/>
              <a:t>04/03/2026</a:t>
            </a:fld>
            <a:endParaRPr lang="fr-FR"/>
          </a:p>
        </p:txBody>
      </p:sp>
      <p:sp>
        <p:nvSpPr>
          <p:cNvPr id="16" name="Espace réservé du pied de page 15">
            <a:extLst>
              <a:ext uri="{FF2B5EF4-FFF2-40B4-BE49-F238E27FC236}">
                <a16:creationId xmlns:a16="http://schemas.microsoft.com/office/drawing/2014/main" id="{BBD842BF-200F-1ED0-8458-EAF0AB810DEA}"/>
              </a:ext>
            </a:extLst>
          </p:cNvPr>
          <p:cNvSpPr>
            <a:spLocks noGrp="1"/>
          </p:cNvSpPr>
          <p:nvPr>
            <p:ph type="ftr" sz="quarter" idx="35"/>
          </p:nvPr>
        </p:nvSpPr>
        <p:spPr/>
        <p:txBody>
          <a:bodyPr/>
          <a:lstStyle/>
          <a:p>
            <a:r>
              <a:rPr lang="fr-FR"/>
              <a:t>-   confidentiel   -</a:t>
            </a:r>
          </a:p>
        </p:txBody>
      </p:sp>
      <p:sp>
        <p:nvSpPr>
          <p:cNvPr id="17" name="Espace réservé du numéro de diapositive 16">
            <a:extLst>
              <a:ext uri="{FF2B5EF4-FFF2-40B4-BE49-F238E27FC236}">
                <a16:creationId xmlns:a16="http://schemas.microsoft.com/office/drawing/2014/main" id="{11DAF0A6-137B-BCA4-499A-73892B8A03FE}"/>
              </a:ext>
            </a:extLst>
          </p:cNvPr>
          <p:cNvSpPr>
            <a:spLocks noGrp="1"/>
          </p:cNvSpPr>
          <p:nvPr>
            <p:ph type="sldNum" sz="quarter" idx="36"/>
          </p:nvPr>
        </p:nvSpPr>
        <p:spPr/>
        <p:txBody>
          <a:bodyPr/>
          <a:lstStyle/>
          <a:p>
            <a:fld id="{EAA21038-A716-1548-A84E-A957E2BC7F1C}" type="slidenum">
              <a:rPr lang="fr-FR" smtClean="0"/>
              <a:pPr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48767596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3 blocs images + 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pour une image  6">
            <a:extLst>
              <a:ext uri="{FF2B5EF4-FFF2-40B4-BE49-F238E27FC236}">
                <a16:creationId xmlns:a16="http://schemas.microsoft.com/office/drawing/2014/main" id="{95A5B34A-B6C4-D57F-9F47-D55BA4E2378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20538" y="1836474"/>
            <a:ext cx="3622261" cy="1636573"/>
          </a:xfrm>
          <a:prstGeom prst="rect">
            <a:avLst/>
          </a:prstGeom>
        </p:spPr>
        <p:txBody>
          <a:bodyPr vert="horz" lIns="72000" tIns="0" rIns="0" bIns="0" rtlCol="0">
            <a:noAutofit/>
          </a:bodyPr>
          <a:lstStyle>
            <a:lvl1pPr>
              <a:defRPr lang="fr-FR" sz="1000" b="1" cap="all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pPr lvl="0" indent="0">
              <a:buNone/>
            </a:pPr>
            <a:r>
              <a:rPr lang="fr-FR"/>
              <a:t>Cliquez sur l'icône pour ajouter une image</a:t>
            </a:r>
          </a:p>
        </p:txBody>
      </p:sp>
      <p:sp>
        <p:nvSpPr>
          <p:cNvPr id="2" name="Espace réservé pour une image  6">
            <a:extLst>
              <a:ext uri="{FF2B5EF4-FFF2-40B4-BE49-F238E27FC236}">
                <a16:creationId xmlns:a16="http://schemas.microsoft.com/office/drawing/2014/main" id="{9F6EFE61-2134-F948-5B86-A04C13F80AE5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84870" y="1839861"/>
            <a:ext cx="3622261" cy="1636573"/>
          </a:xfrm>
          <a:prstGeom prst="rect">
            <a:avLst/>
          </a:prstGeom>
        </p:spPr>
        <p:txBody>
          <a:bodyPr vert="horz" lIns="72000" tIns="0" rIns="0" bIns="0" rtlCol="0">
            <a:noAutofit/>
          </a:bodyPr>
          <a:lstStyle>
            <a:lvl1pPr>
              <a:defRPr lang="fr-FR" sz="1000" b="1" cap="all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pPr lvl="0" indent="0">
              <a:buNone/>
            </a:pPr>
            <a:r>
              <a:rPr lang="fr-FR"/>
              <a:t>Cliquez sur l'icône pour ajouter une image</a:t>
            </a:r>
          </a:p>
        </p:txBody>
      </p:sp>
      <p:sp>
        <p:nvSpPr>
          <p:cNvPr id="3" name="Espace réservé pour une image  6">
            <a:extLst>
              <a:ext uri="{FF2B5EF4-FFF2-40B4-BE49-F238E27FC236}">
                <a16:creationId xmlns:a16="http://schemas.microsoft.com/office/drawing/2014/main" id="{128DFB5D-C00E-49C6-2729-0246E05B2757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149201" y="1829921"/>
            <a:ext cx="3622261" cy="1636573"/>
          </a:xfrm>
          <a:prstGeom prst="rect">
            <a:avLst/>
          </a:prstGeom>
        </p:spPr>
        <p:txBody>
          <a:bodyPr vert="horz" lIns="72000" tIns="0" rIns="0" bIns="0" rtlCol="0">
            <a:noAutofit/>
          </a:bodyPr>
          <a:lstStyle>
            <a:lvl1pPr>
              <a:defRPr lang="fr-FR" sz="1000" b="1" cap="all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pPr lvl="0" indent="0">
              <a:buNone/>
            </a:pPr>
            <a:r>
              <a:rPr lang="fr-FR"/>
              <a:t>Cliquez sur l'icône pour ajouter une image</a:t>
            </a:r>
          </a:p>
        </p:txBody>
      </p:sp>
      <p:sp>
        <p:nvSpPr>
          <p:cNvPr id="10" name="Titre 8">
            <a:extLst>
              <a:ext uri="{FF2B5EF4-FFF2-40B4-BE49-F238E27FC236}">
                <a16:creationId xmlns:a16="http://schemas.microsoft.com/office/drawing/2014/main" id="{1E06AE53-2E7B-69AB-B264-92349EA9BA3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035" y="360000"/>
            <a:ext cx="11427931" cy="276999"/>
          </a:xfrm>
        </p:spPr>
        <p:txBody>
          <a:bodyPr/>
          <a:lstStyle/>
          <a:p>
            <a:r>
              <a:rPr lang="fr-FR"/>
              <a:t>TITRE DE LA SLIDE</a:t>
            </a:r>
          </a:p>
        </p:txBody>
      </p:sp>
      <p:sp>
        <p:nvSpPr>
          <p:cNvPr id="14" name="Espace réservé du texte 17">
            <a:extLst>
              <a:ext uri="{FF2B5EF4-FFF2-40B4-BE49-F238E27FC236}">
                <a16:creationId xmlns:a16="http://schemas.microsoft.com/office/drawing/2014/main" id="{E51F61AE-30AA-8ADB-C58E-64071F6A346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0538" y="3641108"/>
            <a:ext cx="3622261" cy="1636573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sz="1400" b="0">
                <a:solidFill>
                  <a:schemeClr val="bg1"/>
                </a:solidFill>
              </a:defRPr>
            </a:lvl1pPr>
          </a:lstStyle>
          <a:p>
            <a:pPr lvl="4"/>
            <a:r>
              <a:rPr lang="fr-FR"/>
              <a:t>Écrire le texte ici.</a:t>
            </a:r>
          </a:p>
          <a:p>
            <a:pPr lvl="0"/>
            <a:r>
              <a:rPr lang="fr-FR"/>
              <a:t>Faire en sorte que le nombre de caractères ne dépasse pas la hauteur de la zone</a:t>
            </a:r>
          </a:p>
        </p:txBody>
      </p:sp>
      <p:sp>
        <p:nvSpPr>
          <p:cNvPr id="15" name="Espace réservé du texte 17">
            <a:extLst>
              <a:ext uri="{FF2B5EF4-FFF2-40B4-BE49-F238E27FC236}">
                <a16:creationId xmlns:a16="http://schemas.microsoft.com/office/drawing/2014/main" id="{587BA7E6-92FB-C203-BF88-AD3E58B69B8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286340" y="3641108"/>
            <a:ext cx="3622261" cy="1636573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sz="1400" b="0">
                <a:solidFill>
                  <a:schemeClr val="bg1"/>
                </a:solidFill>
              </a:defRPr>
            </a:lvl1pPr>
          </a:lstStyle>
          <a:p>
            <a:pPr lvl="4"/>
            <a:r>
              <a:rPr lang="fr-FR"/>
              <a:t>Écrire le texte ici.</a:t>
            </a:r>
          </a:p>
          <a:p>
            <a:pPr lvl="0"/>
            <a:r>
              <a:rPr lang="fr-FR"/>
              <a:t>Faire en sorte que le nombre de caractères ne dépasse pas la hauteur de la zone</a:t>
            </a:r>
          </a:p>
        </p:txBody>
      </p:sp>
      <p:sp>
        <p:nvSpPr>
          <p:cNvPr id="16" name="Espace réservé du texte 17">
            <a:extLst>
              <a:ext uri="{FF2B5EF4-FFF2-40B4-BE49-F238E27FC236}">
                <a16:creationId xmlns:a16="http://schemas.microsoft.com/office/drawing/2014/main" id="{6158D859-F489-36E7-5563-56FD77C4D3D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152142" y="3641108"/>
            <a:ext cx="3622261" cy="1636573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sz="1400" b="0">
                <a:solidFill>
                  <a:schemeClr val="bg1"/>
                </a:solidFill>
              </a:defRPr>
            </a:lvl1pPr>
          </a:lstStyle>
          <a:p>
            <a:pPr lvl="4"/>
            <a:r>
              <a:rPr lang="fr-FR"/>
              <a:t>Écrire le texte ici.</a:t>
            </a:r>
          </a:p>
          <a:p>
            <a:pPr lvl="0"/>
            <a:r>
              <a:rPr lang="fr-FR"/>
              <a:t>Faire en sorte que le nombre de caractères ne dépasse pas la hauteur de la zone</a:t>
            </a:r>
          </a:p>
        </p:txBody>
      </p:sp>
      <p:sp>
        <p:nvSpPr>
          <p:cNvPr id="17" name="Espace réservé de la date 16">
            <a:extLst>
              <a:ext uri="{FF2B5EF4-FFF2-40B4-BE49-F238E27FC236}">
                <a16:creationId xmlns:a16="http://schemas.microsoft.com/office/drawing/2014/main" id="{D75331EF-3CA1-BFD9-5829-253FF56856E4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fld id="{DF342B73-D2B7-D248-96C4-EBEEB6DE26CD}" type="datetimeFigureOut">
              <a:rPr lang="fr-FR" smtClean="0"/>
              <a:pPr/>
              <a:t>04/03/2026</a:t>
            </a:fld>
            <a:endParaRPr lang="fr-FR"/>
          </a:p>
        </p:txBody>
      </p:sp>
      <p:sp>
        <p:nvSpPr>
          <p:cNvPr id="18" name="Espace réservé du pied de page 17">
            <a:extLst>
              <a:ext uri="{FF2B5EF4-FFF2-40B4-BE49-F238E27FC236}">
                <a16:creationId xmlns:a16="http://schemas.microsoft.com/office/drawing/2014/main" id="{0CADF16E-9D4D-BDF4-C23B-2E81D946919A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r>
              <a:rPr lang="fr-FR"/>
              <a:t>-   confidentiel   -</a:t>
            </a:r>
          </a:p>
        </p:txBody>
      </p:sp>
      <p:sp>
        <p:nvSpPr>
          <p:cNvPr id="19" name="Espace réservé du numéro de diapositive 18">
            <a:extLst>
              <a:ext uri="{FF2B5EF4-FFF2-40B4-BE49-F238E27FC236}">
                <a16:creationId xmlns:a16="http://schemas.microsoft.com/office/drawing/2014/main" id="{0DB08E81-A1C6-0F64-02CF-BE5E41063FA8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EAA21038-A716-1548-A84E-A957E2BC7F1C}" type="slidenum">
              <a:rPr lang="fr-FR" smtClean="0"/>
              <a:pPr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72951409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 blocs images + 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pour une image  6">
            <a:extLst>
              <a:ext uri="{FF2B5EF4-FFF2-40B4-BE49-F238E27FC236}">
                <a16:creationId xmlns:a16="http://schemas.microsoft.com/office/drawing/2014/main" id="{95A5B34A-B6C4-D57F-9F47-D55BA4E2378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639067" y="1395044"/>
            <a:ext cx="3366276" cy="4622854"/>
          </a:xfrm>
          <a:prstGeom prst="rect">
            <a:avLst/>
          </a:prstGeom>
        </p:spPr>
        <p:txBody>
          <a:bodyPr vert="horz" lIns="72000" tIns="0" rIns="0" bIns="0" rtlCol="0">
            <a:noAutofit/>
          </a:bodyPr>
          <a:lstStyle>
            <a:lvl1pPr>
              <a:defRPr lang="fr-FR" sz="1000" b="1" cap="all" dirty="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pPr lvl="0" indent="0">
              <a:buNone/>
            </a:pPr>
            <a:r>
              <a:rPr lang="fr-FR"/>
              <a:t>Cliquez sur l'icône pour ajouter une image</a:t>
            </a:r>
          </a:p>
        </p:txBody>
      </p:sp>
      <p:sp>
        <p:nvSpPr>
          <p:cNvPr id="9" name="Espace réservé pour une image  6">
            <a:extLst>
              <a:ext uri="{FF2B5EF4-FFF2-40B4-BE49-F238E27FC236}">
                <a16:creationId xmlns:a16="http://schemas.microsoft.com/office/drawing/2014/main" id="{75D73859-1C3F-4B5A-1251-7172DC69D91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218407" y="1395044"/>
            <a:ext cx="3366276" cy="4622854"/>
          </a:xfrm>
          <a:prstGeom prst="rect">
            <a:avLst/>
          </a:prstGeom>
        </p:spPr>
        <p:txBody>
          <a:bodyPr vert="horz" lIns="72000" tIns="0" rIns="0" bIns="0" rtlCol="0">
            <a:noAutofit/>
          </a:bodyPr>
          <a:lstStyle>
            <a:lvl1pPr>
              <a:defRPr lang="fr-FR" sz="1000" b="1" cap="all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pPr lvl="0" indent="0">
              <a:buNone/>
            </a:pPr>
            <a:r>
              <a:rPr lang="fr-FR"/>
              <a:t>Cliquez sur l'icône pour ajouter une image</a:t>
            </a:r>
          </a:p>
        </p:txBody>
      </p:sp>
      <p:sp>
        <p:nvSpPr>
          <p:cNvPr id="3" name="Titre 8">
            <a:extLst>
              <a:ext uri="{FF2B5EF4-FFF2-40B4-BE49-F238E27FC236}">
                <a16:creationId xmlns:a16="http://schemas.microsoft.com/office/drawing/2014/main" id="{1C91355D-83EA-CBD2-9C91-A1050FB401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035" y="360000"/>
            <a:ext cx="11427931" cy="276999"/>
          </a:xfrm>
        </p:spPr>
        <p:txBody>
          <a:bodyPr/>
          <a:lstStyle/>
          <a:p>
            <a:r>
              <a:rPr lang="fr-FR"/>
              <a:t>TITRE DE LA SLIDE</a:t>
            </a:r>
          </a:p>
        </p:txBody>
      </p:sp>
      <p:sp>
        <p:nvSpPr>
          <p:cNvPr id="6" name="Espace réservé de la date 5">
            <a:extLst>
              <a:ext uri="{FF2B5EF4-FFF2-40B4-BE49-F238E27FC236}">
                <a16:creationId xmlns:a16="http://schemas.microsoft.com/office/drawing/2014/main" id="{EED5B695-DA49-8370-90A4-46B29A246691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DF342B73-D2B7-D248-96C4-EBEEB6DE26CD}" type="datetimeFigureOut">
              <a:rPr lang="fr-FR" smtClean="0"/>
              <a:pPr/>
              <a:t>04/03/2026</a:t>
            </a:fld>
            <a:endParaRPr lang="fr-FR"/>
          </a:p>
        </p:txBody>
      </p:sp>
      <p:sp>
        <p:nvSpPr>
          <p:cNvPr id="8" name="Espace réservé du pied de page 7">
            <a:extLst>
              <a:ext uri="{FF2B5EF4-FFF2-40B4-BE49-F238E27FC236}">
                <a16:creationId xmlns:a16="http://schemas.microsoft.com/office/drawing/2014/main" id="{FFE94DB1-B215-1BFE-CDD1-BC90593B15BE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fr-FR"/>
              <a:t>-   confidentiel   -</a:t>
            </a:r>
          </a:p>
        </p:txBody>
      </p:sp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3D2D9871-3216-80D9-5D8A-755BCE898C3E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EAA21038-A716-1548-A84E-A957E2BC7F1C}" type="slidenum">
              <a:rPr lang="fr-FR" smtClean="0"/>
              <a:pPr/>
              <a:t>‹#›</a:t>
            </a:fld>
            <a:endParaRPr lang="fr-FR"/>
          </a:p>
        </p:txBody>
      </p:sp>
      <p:sp>
        <p:nvSpPr>
          <p:cNvPr id="13" name="Espace réservé du texte 17">
            <a:extLst>
              <a:ext uri="{FF2B5EF4-FFF2-40B4-BE49-F238E27FC236}">
                <a16:creationId xmlns:a16="http://schemas.microsoft.com/office/drawing/2014/main" id="{D8C9329C-EDD9-E86D-0D7C-68C5066ACCD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76305" y="3563814"/>
            <a:ext cx="2293498" cy="245408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sz="1400" b="0">
                <a:solidFill>
                  <a:schemeClr val="bg1"/>
                </a:solidFill>
              </a:defRPr>
            </a:lvl1pPr>
          </a:lstStyle>
          <a:p>
            <a:pPr lvl="4"/>
            <a:r>
              <a:rPr lang="fr-FR"/>
              <a:t>Écrire le texte ici.</a:t>
            </a:r>
          </a:p>
          <a:p>
            <a:pPr lvl="0"/>
            <a:r>
              <a:rPr lang="fr-FR"/>
              <a:t>Faire en sorte que le nombre de caractères ne dépasse pas la hauteur de la zone</a:t>
            </a:r>
          </a:p>
        </p:txBody>
      </p:sp>
      <p:sp>
        <p:nvSpPr>
          <p:cNvPr id="15" name="Espace réservé du texte 17">
            <a:extLst>
              <a:ext uri="{FF2B5EF4-FFF2-40B4-BE49-F238E27FC236}">
                <a16:creationId xmlns:a16="http://schemas.microsoft.com/office/drawing/2014/main" id="{F03FDAD8-B5B4-AFCB-471A-3BD457BE972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753947" y="3559674"/>
            <a:ext cx="2293498" cy="245408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sz="1400" b="0">
                <a:solidFill>
                  <a:schemeClr val="bg1"/>
                </a:solidFill>
              </a:defRPr>
            </a:lvl1pPr>
          </a:lstStyle>
          <a:p>
            <a:pPr lvl="4"/>
            <a:r>
              <a:rPr lang="fr-FR"/>
              <a:t>Écrire le texte ici.</a:t>
            </a:r>
          </a:p>
          <a:p>
            <a:pPr lvl="0"/>
            <a:r>
              <a:rPr lang="fr-FR"/>
              <a:t>Faire en sorte que le nombre de caractères ne dépasse pas la hauteur de la zone</a:t>
            </a:r>
          </a:p>
        </p:txBody>
      </p:sp>
      <p:sp>
        <p:nvSpPr>
          <p:cNvPr id="2" name="Espace réservé du texte 14">
            <a:extLst>
              <a:ext uri="{FF2B5EF4-FFF2-40B4-BE49-F238E27FC236}">
                <a16:creationId xmlns:a16="http://schemas.microsoft.com/office/drawing/2014/main" id="{9C3B25D4-B179-0228-7A5C-91B210D98012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 rot="10800000">
            <a:off x="5757358" y="3924139"/>
            <a:ext cx="699230" cy="107722"/>
          </a:xfrm>
          <a:gradFill>
            <a:gsLst>
              <a:gs pos="0">
                <a:schemeClr val="bg1"/>
              </a:gs>
              <a:gs pos="100000">
                <a:schemeClr val="bg2">
                  <a:alpha val="0"/>
                </a:schemeClr>
              </a:gs>
            </a:gsLst>
            <a:lin ang="5400000" scaled="1"/>
          </a:gra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347041496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xt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pour une image  5">
            <a:extLst>
              <a:ext uri="{FF2B5EF4-FFF2-40B4-BE49-F238E27FC236}">
                <a16:creationId xmlns:a16="http://schemas.microsoft.com/office/drawing/2014/main" id="{9B1EFA10-4759-4B52-2284-A77D4998972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6000" y="1226344"/>
            <a:ext cx="5258158" cy="4333209"/>
          </a:xfrm>
          <a:prstGeom prst="rect">
            <a:avLst/>
          </a:prstGeom>
        </p:spPr>
        <p:txBody>
          <a:bodyPr vert="horz" lIns="180000" tIns="180000" rIns="0" bIns="0" rtlCol="0">
            <a:noAutofit/>
          </a:bodyPr>
          <a:lstStyle>
            <a:lvl1pPr>
              <a:defRPr lang="fr-FR" sz="1000" b="1" cap="all" dirty="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pPr lvl="0" indent="0">
              <a:buNone/>
            </a:pPr>
            <a:r>
              <a:rPr lang="fr-FR"/>
              <a:t>Cliquez sur l'icône pour ajouter une image</a:t>
            </a:r>
          </a:p>
        </p:txBody>
      </p:sp>
      <p:sp>
        <p:nvSpPr>
          <p:cNvPr id="7" name="Titre 8">
            <a:extLst>
              <a:ext uri="{FF2B5EF4-FFF2-40B4-BE49-F238E27FC236}">
                <a16:creationId xmlns:a16="http://schemas.microsoft.com/office/drawing/2014/main" id="{A63E296D-9544-77C8-95CA-F4A858C09E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035" y="360000"/>
            <a:ext cx="11427931" cy="276999"/>
          </a:xfrm>
        </p:spPr>
        <p:txBody>
          <a:bodyPr/>
          <a:lstStyle/>
          <a:p>
            <a:r>
              <a:rPr lang="fr-FR"/>
              <a:t>TITRE DE LA SLIDE</a:t>
            </a:r>
          </a:p>
        </p:txBody>
      </p:sp>
      <p:sp>
        <p:nvSpPr>
          <p:cNvPr id="10" name="Espace réservé de la date 9">
            <a:extLst>
              <a:ext uri="{FF2B5EF4-FFF2-40B4-BE49-F238E27FC236}">
                <a16:creationId xmlns:a16="http://schemas.microsoft.com/office/drawing/2014/main" id="{DB787315-68DE-0189-63AF-96F4F5EC5153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DF342B73-D2B7-D248-96C4-EBEEB6DE26CD}" type="datetimeFigureOut">
              <a:rPr lang="fr-FR" smtClean="0"/>
              <a:pPr/>
              <a:t>04/03/2026</a:t>
            </a:fld>
            <a:endParaRPr lang="fr-FR"/>
          </a:p>
        </p:txBody>
      </p:sp>
      <p:sp>
        <p:nvSpPr>
          <p:cNvPr id="11" name="Espace réservé du pied de page 10">
            <a:extLst>
              <a:ext uri="{FF2B5EF4-FFF2-40B4-BE49-F238E27FC236}">
                <a16:creationId xmlns:a16="http://schemas.microsoft.com/office/drawing/2014/main" id="{DE21E0E5-2811-B7BF-D987-C2BFA03D4B8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fr-FR"/>
              <a:t>-   confidentiel   -</a:t>
            </a:r>
          </a:p>
        </p:txBody>
      </p:sp>
      <p:sp>
        <p:nvSpPr>
          <p:cNvPr id="12" name="Espace réservé du numéro de diapositive 11">
            <a:extLst>
              <a:ext uri="{FF2B5EF4-FFF2-40B4-BE49-F238E27FC236}">
                <a16:creationId xmlns:a16="http://schemas.microsoft.com/office/drawing/2014/main" id="{77955F6F-F681-2259-426A-46A9A0BFAE5A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EAA21038-A716-1548-A84E-A957E2BC7F1C}" type="slidenum">
              <a:rPr lang="fr-FR" smtClean="0"/>
              <a:pPr/>
              <a:t>‹#›</a:t>
            </a:fld>
            <a:endParaRPr lang="fr-FR"/>
          </a:p>
        </p:txBody>
      </p:sp>
      <p:sp>
        <p:nvSpPr>
          <p:cNvPr id="14" name="Espace réservé du texte 17">
            <a:extLst>
              <a:ext uri="{FF2B5EF4-FFF2-40B4-BE49-F238E27FC236}">
                <a16:creationId xmlns:a16="http://schemas.microsoft.com/office/drawing/2014/main" id="{9858B8CA-D8A6-FBF9-3D93-D30D6D7CDAD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37842" y="1226344"/>
            <a:ext cx="4834868" cy="4333135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sz="1400" b="0">
                <a:solidFill>
                  <a:schemeClr val="bg1"/>
                </a:solidFill>
              </a:defRPr>
            </a:lvl1pPr>
          </a:lstStyle>
          <a:p>
            <a:pPr lvl="6"/>
            <a:r>
              <a:rPr lang="fr-FR"/>
              <a:t>Écrire le texte ici.</a:t>
            </a:r>
          </a:p>
          <a:p>
            <a:pPr lvl="0"/>
            <a:r>
              <a:rPr lang="fr-FR"/>
              <a:t>Faire en sorte que le nombre de caractères ne dépasse pas la hauteur de la zone</a:t>
            </a:r>
          </a:p>
        </p:txBody>
      </p:sp>
    </p:spTree>
    <p:extLst>
      <p:ext uri="{BB962C8B-B14F-4D97-AF65-F5344CB8AC3E}">
        <p14:creationId xmlns:p14="http://schemas.microsoft.com/office/powerpoint/2010/main" val="380587157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uverture graphi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pour une image  3">
            <a:extLst>
              <a:ext uri="{FF2B5EF4-FFF2-40B4-BE49-F238E27FC236}">
                <a16:creationId xmlns:a16="http://schemas.microsoft.com/office/drawing/2014/main" id="{22A2FBA3-A138-B61B-EED2-667B650E6611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 vert="horz" lIns="180000" tIns="180000" rIns="0" bIns="0" rtlCol="0">
            <a:noAutofit/>
          </a:bodyPr>
          <a:lstStyle>
            <a:lvl1pPr>
              <a:defRPr lang="fr-FR" sz="1000" b="1" dirty="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pPr lvl="0" indent="0">
              <a:buNone/>
            </a:pPr>
            <a:r>
              <a:rPr lang="fr-FR"/>
              <a:t>IMAGE</a:t>
            </a:r>
          </a:p>
        </p:txBody>
      </p:sp>
      <p:sp>
        <p:nvSpPr>
          <p:cNvPr id="2" name="Titre 20">
            <a:extLst>
              <a:ext uri="{FF2B5EF4-FFF2-40B4-BE49-F238E27FC236}">
                <a16:creationId xmlns:a16="http://schemas.microsoft.com/office/drawing/2014/main" id="{D13ABCDA-D077-7C8F-42A7-B18520DC1E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60678" y="2044006"/>
            <a:ext cx="6470645" cy="2769989"/>
          </a:xfrm>
        </p:spPr>
        <p:txBody>
          <a:bodyPr anchor="ctr">
            <a:spAutoFit/>
          </a:bodyPr>
          <a:lstStyle>
            <a:lvl1pPr algn="l">
              <a:defRPr sz="5000" b="1">
                <a:solidFill>
                  <a:schemeClr val="bg2"/>
                </a:solidFill>
              </a:defRPr>
            </a:lvl1pPr>
          </a:lstStyle>
          <a:p>
            <a:r>
              <a:rPr lang="fr-FR"/>
              <a:t>titre de la présentation</a:t>
            </a:r>
            <a:br>
              <a:rPr lang="fr-FR"/>
            </a:br>
            <a:r>
              <a:rPr lang="fr-FR"/>
              <a:t>sur 4 lignes</a:t>
            </a:r>
            <a:br>
              <a:rPr lang="fr-FR"/>
            </a:br>
            <a:r>
              <a:rPr lang="fr-FR"/>
              <a:t>maximum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28CCD568-B135-2A22-D00D-E0A5F08A572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58328" y="626719"/>
            <a:ext cx="2778157" cy="500963"/>
          </a:xfrm>
          <a:custGeom>
            <a:avLst/>
            <a:gdLst>
              <a:gd name="connsiteX0" fmla="*/ 1358951 w 5553421"/>
              <a:gd name="connsiteY0" fmla="*/ 307044 h 1001926"/>
              <a:gd name="connsiteX1" fmla="*/ 1358951 w 5553421"/>
              <a:gd name="connsiteY1" fmla="*/ 307044 h 1001926"/>
              <a:gd name="connsiteX2" fmla="*/ 1358951 w 5553421"/>
              <a:gd name="connsiteY2" fmla="*/ 307044 h 1001926"/>
              <a:gd name="connsiteX3" fmla="*/ 1358951 w 5553421"/>
              <a:gd name="connsiteY3" fmla="*/ 307044 h 1001926"/>
              <a:gd name="connsiteX4" fmla="*/ 1359188 w 5553421"/>
              <a:gd name="connsiteY4" fmla="*/ 306820 h 1001926"/>
              <a:gd name="connsiteX5" fmla="*/ 1358914 w 5553421"/>
              <a:gd name="connsiteY5" fmla="*/ 306957 h 1001926"/>
              <a:gd name="connsiteX6" fmla="*/ 1358951 w 5553421"/>
              <a:gd name="connsiteY6" fmla="*/ 307044 h 1001926"/>
              <a:gd name="connsiteX7" fmla="*/ 1356441 w 5553421"/>
              <a:gd name="connsiteY7" fmla="*/ 309418 h 1001926"/>
              <a:gd name="connsiteX8" fmla="*/ 1229252 w 5553421"/>
              <a:gd name="connsiteY8" fmla="*/ 598050 h 1001926"/>
              <a:gd name="connsiteX9" fmla="*/ 1227604 w 5553421"/>
              <a:gd name="connsiteY9" fmla="*/ 604613 h 1001926"/>
              <a:gd name="connsiteX10" fmla="*/ 1235158 w 5553421"/>
              <a:gd name="connsiteY10" fmla="*/ 605980 h 1001926"/>
              <a:gd name="connsiteX11" fmla="*/ 1420397 w 5553421"/>
              <a:gd name="connsiteY11" fmla="*/ 607329 h 1001926"/>
              <a:gd name="connsiteX12" fmla="*/ 1422921 w 5553421"/>
              <a:gd name="connsiteY12" fmla="*/ 607347 h 1001926"/>
              <a:gd name="connsiteX13" fmla="*/ 1422921 w 5553421"/>
              <a:gd name="connsiteY13" fmla="*/ 607347 h 1001926"/>
              <a:gd name="connsiteX14" fmla="*/ 1422921 w 5553421"/>
              <a:gd name="connsiteY14" fmla="*/ 607347 h 1001926"/>
              <a:gd name="connsiteX15" fmla="*/ 1425256 w 5553421"/>
              <a:gd name="connsiteY15" fmla="*/ 605980 h 1001926"/>
              <a:gd name="connsiteX16" fmla="*/ 1425256 w 5553421"/>
              <a:gd name="connsiteY16" fmla="*/ 600921 h 1001926"/>
              <a:gd name="connsiteX17" fmla="*/ 1360013 w 5553421"/>
              <a:gd name="connsiteY17" fmla="*/ 309555 h 1001926"/>
              <a:gd name="connsiteX18" fmla="*/ 1358951 w 5553421"/>
              <a:gd name="connsiteY18" fmla="*/ 307044 h 1001926"/>
              <a:gd name="connsiteX19" fmla="*/ 3480067 w 5553421"/>
              <a:gd name="connsiteY19" fmla="*/ 303402 h 1001926"/>
              <a:gd name="connsiteX20" fmla="*/ 3477869 w 5553421"/>
              <a:gd name="connsiteY20" fmla="*/ 308051 h 1001926"/>
              <a:gd name="connsiteX21" fmla="*/ 3350130 w 5553421"/>
              <a:gd name="connsiteY21" fmla="*/ 595862 h 1001926"/>
              <a:gd name="connsiteX22" fmla="*/ 3348276 w 5553421"/>
              <a:gd name="connsiteY22" fmla="*/ 604203 h 1001926"/>
              <a:gd name="connsiteX23" fmla="*/ 3348276 w 5553421"/>
              <a:gd name="connsiteY23" fmla="*/ 604203 h 1001926"/>
              <a:gd name="connsiteX24" fmla="*/ 3348276 w 5553421"/>
              <a:gd name="connsiteY24" fmla="*/ 604203 h 1001926"/>
              <a:gd name="connsiteX25" fmla="*/ 3348482 w 5553421"/>
              <a:gd name="connsiteY25" fmla="*/ 605980 h 1001926"/>
              <a:gd name="connsiteX26" fmla="*/ 3355350 w 5553421"/>
              <a:gd name="connsiteY26" fmla="*/ 608305 h 1001926"/>
              <a:gd name="connsiteX27" fmla="*/ 3544348 w 5553421"/>
              <a:gd name="connsiteY27" fmla="*/ 607347 h 1001926"/>
              <a:gd name="connsiteX28" fmla="*/ 3546958 w 5553421"/>
              <a:gd name="connsiteY28" fmla="*/ 607347 h 1001926"/>
              <a:gd name="connsiteX29" fmla="*/ 3546958 w 5553421"/>
              <a:gd name="connsiteY29" fmla="*/ 602152 h 1001926"/>
              <a:gd name="connsiteX30" fmla="*/ 3482814 w 5553421"/>
              <a:gd name="connsiteY30" fmla="*/ 306957 h 1001926"/>
              <a:gd name="connsiteX31" fmla="*/ 3480204 w 5553421"/>
              <a:gd name="connsiteY31" fmla="*/ 303539 h 1001926"/>
              <a:gd name="connsiteX32" fmla="*/ 2001729 w 5553421"/>
              <a:gd name="connsiteY32" fmla="*/ 38561 h 1001926"/>
              <a:gd name="connsiteX33" fmla="*/ 2261328 w 5553421"/>
              <a:gd name="connsiteY33" fmla="*/ 38561 h 1001926"/>
              <a:gd name="connsiteX34" fmla="*/ 2267646 w 5553421"/>
              <a:gd name="connsiteY34" fmla="*/ 41296 h 1001926"/>
              <a:gd name="connsiteX35" fmla="*/ 2271354 w 5553421"/>
              <a:gd name="connsiteY35" fmla="*/ 46491 h 1001926"/>
              <a:gd name="connsiteX36" fmla="*/ 2564055 w 5553421"/>
              <a:gd name="connsiteY36" fmla="*/ 557305 h 1001926"/>
              <a:gd name="connsiteX37" fmla="*/ 2572846 w 5553421"/>
              <a:gd name="connsiteY37" fmla="*/ 566329 h 1001926"/>
              <a:gd name="connsiteX38" fmla="*/ 2579439 w 5553421"/>
              <a:gd name="connsiteY38" fmla="*/ 554981 h 1001926"/>
              <a:gd name="connsiteX39" fmla="*/ 2653472 w 5553421"/>
              <a:gd name="connsiteY39" fmla="*/ 46491 h 1001926"/>
              <a:gd name="connsiteX40" fmla="*/ 2656082 w 5553421"/>
              <a:gd name="connsiteY40" fmla="*/ 41296 h 1001926"/>
              <a:gd name="connsiteX41" fmla="*/ 2661164 w 5553421"/>
              <a:gd name="connsiteY41" fmla="*/ 38561 h 1001926"/>
              <a:gd name="connsiteX42" fmla="*/ 2905379 w 5553421"/>
              <a:gd name="connsiteY42" fmla="*/ 41296 h 1001926"/>
              <a:gd name="connsiteX43" fmla="*/ 2911697 w 5553421"/>
              <a:gd name="connsiteY43" fmla="*/ 42390 h 1001926"/>
              <a:gd name="connsiteX44" fmla="*/ 2912796 w 5553421"/>
              <a:gd name="connsiteY44" fmla="*/ 46491 h 1001926"/>
              <a:gd name="connsiteX45" fmla="*/ 2781349 w 5553421"/>
              <a:gd name="connsiteY45" fmla="*/ 965710 h 1001926"/>
              <a:gd name="connsiteX46" fmla="*/ 2777503 w 5553421"/>
              <a:gd name="connsiteY46" fmla="*/ 974324 h 1001926"/>
              <a:gd name="connsiteX47" fmla="*/ 2769674 w 5553421"/>
              <a:gd name="connsiteY47" fmla="*/ 975965 h 1001926"/>
              <a:gd name="connsiteX48" fmla="*/ 2769811 w 5553421"/>
              <a:gd name="connsiteY48" fmla="*/ 975828 h 1001926"/>
              <a:gd name="connsiteX49" fmla="*/ 2528343 w 5553421"/>
              <a:gd name="connsiteY49" fmla="*/ 975828 h 1001926"/>
              <a:gd name="connsiteX50" fmla="*/ 2525871 w 5553421"/>
              <a:gd name="connsiteY50" fmla="*/ 973230 h 1001926"/>
              <a:gd name="connsiteX51" fmla="*/ 2270801 w 5553421"/>
              <a:gd name="connsiteY51" fmla="*/ 522580 h 1001926"/>
              <a:gd name="connsiteX52" fmla="*/ 2201304 w 5553421"/>
              <a:gd name="connsiteY52" fmla="*/ 399795 h 1001926"/>
              <a:gd name="connsiteX53" fmla="*/ 2199752 w 5553421"/>
              <a:gd name="connsiteY53" fmla="*/ 398691 h 1001926"/>
              <a:gd name="connsiteX54" fmla="*/ 2197458 w 5553421"/>
              <a:gd name="connsiteY54" fmla="*/ 397061 h 1001926"/>
              <a:gd name="connsiteX55" fmla="*/ 2197458 w 5553421"/>
              <a:gd name="connsiteY55" fmla="*/ 397061 h 1001926"/>
              <a:gd name="connsiteX56" fmla="*/ 2197458 w 5553421"/>
              <a:gd name="connsiteY56" fmla="*/ 397061 h 1001926"/>
              <a:gd name="connsiteX57" fmla="*/ 2194986 w 5553421"/>
              <a:gd name="connsiteY57" fmla="*/ 400889 h 1001926"/>
              <a:gd name="connsiteX58" fmla="*/ 2114634 w 5553421"/>
              <a:gd name="connsiteY58" fmla="*/ 964343 h 1001926"/>
              <a:gd name="connsiteX59" fmla="*/ 2111887 w 5553421"/>
              <a:gd name="connsiteY59" fmla="*/ 972136 h 1001926"/>
              <a:gd name="connsiteX60" fmla="*/ 2105431 w 5553421"/>
              <a:gd name="connsiteY60" fmla="*/ 973230 h 1001926"/>
              <a:gd name="connsiteX61" fmla="*/ 1872617 w 5553421"/>
              <a:gd name="connsiteY61" fmla="*/ 973230 h 1001926"/>
              <a:gd name="connsiteX62" fmla="*/ 1866573 w 5553421"/>
              <a:gd name="connsiteY62" fmla="*/ 970769 h 1001926"/>
              <a:gd name="connsiteX63" fmla="*/ 1862315 w 5553421"/>
              <a:gd name="connsiteY63" fmla="*/ 960651 h 1001926"/>
              <a:gd name="connsiteX64" fmla="*/ 1990329 w 5553421"/>
              <a:gd name="connsiteY64" fmla="*/ 48952 h 1001926"/>
              <a:gd name="connsiteX65" fmla="*/ 1994037 w 5553421"/>
              <a:gd name="connsiteY65" fmla="*/ 42390 h 1001926"/>
              <a:gd name="connsiteX66" fmla="*/ 2001729 w 5553421"/>
              <a:gd name="connsiteY66" fmla="*/ 38561 h 1001926"/>
              <a:gd name="connsiteX67" fmla="*/ 1243949 w 5553421"/>
              <a:gd name="connsiteY67" fmla="*/ 37467 h 1001926"/>
              <a:gd name="connsiteX68" fmla="*/ 1545715 w 5553421"/>
              <a:gd name="connsiteY68" fmla="*/ 37467 h 1001926"/>
              <a:gd name="connsiteX69" fmla="*/ 1554368 w 5553421"/>
              <a:gd name="connsiteY69" fmla="*/ 41432 h 1001926"/>
              <a:gd name="connsiteX70" fmla="*/ 1556978 w 5553421"/>
              <a:gd name="connsiteY70" fmla="*/ 46628 h 1001926"/>
              <a:gd name="connsiteX71" fmla="*/ 1753806 w 5553421"/>
              <a:gd name="connsiteY71" fmla="*/ 966941 h 1001926"/>
              <a:gd name="connsiteX72" fmla="*/ 1751196 w 5553421"/>
              <a:gd name="connsiteY72" fmla="*/ 972410 h 1001926"/>
              <a:gd name="connsiteX73" fmla="*/ 1747487 w 5553421"/>
              <a:gd name="connsiteY73" fmla="*/ 973504 h 1001926"/>
              <a:gd name="connsiteX74" fmla="*/ 1747625 w 5553421"/>
              <a:gd name="connsiteY74" fmla="*/ 973230 h 1001926"/>
              <a:gd name="connsiteX75" fmla="*/ 1520167 w 5553421"/>
              <a:gd name="connsiteY75" fmla="*/ 974187 h 1001926"/>
              <a:gd name="connsiteX76" fmla="*/ 1510964 w 5553421"/>
              <a:gd name="connsiteY76" fmla="*/ 972136 h 1001926"/>
              <a:gd name="connsiteX77" fmla="*/ 1508629 w 5553421"/>
              <a:gd name="connsiteY77" fmla="*/ 961745 h 1001926"/>
              <a:gd name="connsiteX78" fmla="*/ 1472780 w 5553421"/>
              <a:gd name="connsiteY78" fmla="*/ 815447 h 1001926"/>
              <a:gd name="connsiteX79" fmla="*/ 1470308 w 5553421"/>
              <a:gd name="connsiteY79" fmla="*/ 810388 h 1001926"/>
              <a:gd name="connsiteX80" fmla="*/ 1470308 w 5553421"/>
              <a:gd name="connsiteY80" fmla="*/ 810388 h 1001926"/>
              <a:gd name="connsiteX81" fmla="*/ 1146016 w 5553421"/>
              <a:gd name="connsiteY81" fmla="*/ 810388 h 1001926"/>
              <a:gd name="connsiteX82" fmla="*/ 1135714 w 5553421"/>
              <a:gd name="connsiteY82" fmla="*/ 815447 h 1001926"/>
              <a:gd name="connsiteX83" fmla="*/ 1126511 w 5553421"/>
              <a:gd name="connsiteY83" fmla="*/ 828299 h 1001926"/>
              <a:gd name="connsiteX84" fmla="*/ 1062779 w 5553421"/>
              <a:gd name="connsiteY84" fmla="*/ 964343 h 1001926"/>
              <a:gd name="connsiteX85" fmla="*/ 1058796 w 5553421"/>
              <a:gd name="connsiteY85" fmla="*/ 970769 h 1001926"/>
              <a:gd name="connsiteX86" fmla="*/ 1051242 w 5553421"/>
              <a:gd name="connsiteY86" fmla="*/ 973230 h 1001926"/>
              <a:gd name="connsiteX87" fmla="*/ 786424 w 5553421"/>
              <a:gd name="connsiteY87" fmla="*/ 973230 h 1001926"/>
              <a:gd name="connsiteX88" fmla="*/ 777770 w 5553421"/>
              <a:gd name="connsiteY88" fmla="*/ 970769 h 1001926"/>
              <a:gd name="connsiteX89" fmla="*/ 779006 w 5553421"/>
              <a:gd name="connsiteY89" fmla="*/ 961745 h 1001926"/>
              <a:gd name="connsiteX90" fmla="*/ 1237768 w 5553421"/>
              <a:gd name="connsiteY90" fmla="*/ 43757 h 1001926"/>
              <a:gd name="connsiteX91" fmla="*/ 1243949 w 5553421"/>
              <a:gd name="connsiteY91" fmla="*/ 37467 h 1001926"/>
              <a:gd name="connsiteX92" fmla="*/ 4112855 w 5553421"/>
              <a:gd name="connsiteY92" fmla="*/ 37331 h 1001926"/>
              <a:gd name="connsiteX93" fmla="*/ 4365724 w 5553421"/>
              <a:gd name="connsiteY93" fmla="*/ 37331 h 1001926"/>
              <a:gd name="connsiteX94" fmla="*/ 4374789 w 5553421"/>
              <a:gd name="connsiteY94" fmla="*/ 38561 h 1001926"/>
              <a:gd name="connsiteX95" fmla="*/ 4374789 w 5553421"/>
              <a:gd name="connsiteY95" fmla="*/ 47312 h 1001926"/>
              <a:gd name="connsiteX96" fmla="*/ 4276169 w 5553421"/>
              <a:gd name="connsiteY96" fmla="*/ 753509 h 1001926"/>
              <a:gd name="connsiteX97" fmla="*/ 4278779 w 5553421"/>
              <a:gd name="connsiteY97" fmla="*/ 761986 h 1001926"/>
              <a:gd name="connsiteX98" fmla="*/ 4291552 w 5553421"/>
              <a:gd name="connsiteY98" fmla="*/ 763490 h 1001926"/>
              <a:gd name="connsiteX99" fmla="*/ 4552387 w 5553421"/>
              <a:gd name="connsiteY99" fmla="*/ 763490 h 1001926"/>
              <a:gd name="connsiteX100" fmla="*/ 4560079 w 5553421"/>
              <a:gd name="connsiteY100" fmla="*/ 766088 h 1001926"/>
              <a:gd name="connsiteX101" fmla="*/ 4561590 w 5553421"/>
              <a:gd name="connsiteY101" fmla="*/ 773608 h 1001926"/>
              <a:gd name="connsiteX102" fmla="*/ 4535905 w 5553421"/>
              <a:gd name="connsiteY102" fmla="*/ 963249 h 1001926"/>
              <a:gd name="connsiteX103" fmla="*/ 4533295 w 5553421"/>
              <a:gd name="connsiteY103" fmla="*/ 973230 h 1001926"/>
              <a:gd name="connsiteX104" fmla="*/ 4525466 w 5553421"/>
              <a:gd name="connsiteY104" fmla="*/ 975828 h 1001926"/>
              <a:gd name="connsiteX105" fmla="*/ 3999127 w 5553421"/>
              <a:gd name="connsiteY105" fmla="*/ 975828 h 1001926"/>
              <a:gd name="connsiteX106" fmla="*/ 3979760 w 5553421"/>
              <a:gd name="connsiteY106" fmla="*/ 972136 h 1001926"/>
              <a:gd name="connsiteX107" fmla="*/ 3978661 w 5553421"/>
              <a:gd name="connsiteY107" fmla="*/ 955456 h 1001926"/>
              <a:gd name="connsiteX108" fmla="*/ 4109010 w 5553421"/>
              <a:gd name="connsiteY108" fmla="*/ 52644 h 1001926"/>
              <a:gd name="connsiteX109" fmla="*/ 4112855 w 5553421"/>
              <a:gd name="connsiteY109" fmla="*/ 37331 h 1001926"/>
              <a:gd name="connsiteX110" fmla="*/ 3376777 w 5553421"/>
              <a:gd name="connsiteY110" fmla="*/ 37331 h 1001926"/>
              <a:gd name="connsiteX111" fmla="*/ 3664258 w 5553421"/>
              <a:gd name="connsiteY111" fmla="*/ 37331 h 1001926"/>
              <a:gd name="connsiteX112" fmla="*/ 3674697 w 5553421"/>
              <a:gd name="connsiteY112" fmla="*/ 41296 h 1001926"/>
              <a:gd name="connsiteX113" fmla="*/ 3677170 w 5553421"/>
              <a:gd name="connsiteY113" fmla="*/ 46491 h 1001926"/>
              <a:gd name="connsiteX114" fmla="*/ 3869877 w 5553421"/>
              <a:gd name="connsiteY114" fmla="*/ 972136 h 1001926"/>
              <a:gd name="connsiteX115" fmla="*/ 3868778 w 5553421"/>
              <a:gd name="connsiteY115" fmla="*/ 975828 h 1001926"/>
              <a:gd name="connsiteX116" fmla="*/ 3864932 w 5553421"/>
              <a:gd name="connsiteY116" fmla="*/ 976785 h 1001926"/>
              <a:gd name="connsiteX117" fmla="*/ 3631018 w 5553421"/>
              <a:gd name="connsiteY117" fmla="*/ 976785 h 1001926"/>
              <a:gd name="connsiteX118" fmla="*/ 3621953 w 5553421"/>
              <a:gd name="connsiteY118" fmla="*/ 974050 h 1001926"/>
              <a:gd name="connsiteX119" fmla="*/ 3619481 w 5553421"/>
              <a:gd name="connsiteY119" fmla="*/ 965437 h 1001926"/>
              <a:gd name="connsiteX120" fmla="*/ 3588988 w 5553421"/>
              <a:gd name="connsiteY120" fmla="*/ 822146 h 1001926"/>
              <a:gd name="connsiteX121" fmla="*/ 3583906 w 5553421"/>
              <a:gd name="connsiteY121" fmla="*/ 810388 h 1001926"/>
              <a:gd name="connsiteX122" fmla="*/ 3569759 w 5553421"/>
              <a:gd name="connsiteY122" fmla="*/ 806696 h 1001926"/>
              <a:gd name="connsiteX123" fmla="*/ 3265520 w 5553421"/>
              <a:gd name="connsiteY123" fmla="*/ 806696 h 1001926"/>
              <a:gd name="connsiteX124" fmla="*/ 3255494 w 5553421"/>
              <a:gd name="connsiteY124" fmla="*/ 810388 h 1001926"/>
              <a:gd name="connsiteX125" fmla="*/ 3247664 w 5553421"/>
              <a:gd name="connsiteY125" fmla="*/ 823103 h 1001926"/>
              <a:gd name="connsiteX126" fmla="*/ 3178850 w 5553421"/>
              <a:gd name="connsiteY126" fmla="*/ 969128 h 1001926"/>
              <a:gd name="connsiteX127" fmla="*/ 3175004 w 5553421"/>
              <a:gd name="connsiteY127" fmla="*/ 974187 h 1001926"/>
              <a:gd name="connsiteX128" fmla="*/ 3167038 w 5553421"/>
              <a:gd name="connsiteY128" fmla="*/ 975828 h 1001926"/>
              <a:gd name="connsiteX129" fmla="*/ 2904005 w 5553421"/>
              <a:gd name="connsiteY129" fmla="*/ 975828 h 1001926"/>
              <a:gd name="connsiteX130" fmla="*/ 2895215 w 5553421"/>
              <a:gd name="connsiteY130" fmla="*/ 973230 h 1001926"/>
              <a:gd name="connsiteX131" fmla="*/ 2897825 w 5553421"/>
              <a:gd name="connsiteY131" fmla="*/ 965573 h 1001926"/>
              <a:gd name="connsiteX132" fmla="*/ 3361531 w 5553421"/>
              <a:gd name="connsiteY132" fmla="*/ 43757 h 1001926"/>
              <a:gd name="connsiteX133" fmla="*/ 3366476 w 5553421"/>
              <a:gd name="connsiteY133" fmla="*/ 38561 h 1001926"/>
              <a:gd name="connsiteX134" fmla="*/ 3376777 w 5553421"/>
              <a:gd name="connsiteY134" fmla="*/ 37331 h 1001926"/>
              <a:gd name="connsiteX135" fmla="*/ 4942334 w 5553421"/>
              <a:gd name="connsiteY135" fmla="*/ 18462 h 1001926"/>
              <a:gd name="connsiteX136" fmla="*/ 5196714 w 5553421"/>
              <a:gd name="connsiteY136" fmla="*/ 18462 h 1001926"/>
              <a:gd name="connsiteX137" fmla="*/ 5203306 w 5553421"/>
              <a:gd name="connsiteY137" fmla="*/ 19830 h 1001926"/>
              <a:gd name="connsiteX138" fmla="*/ 5205916 w 5553421"/>
              <a:gd name="connsiteY138" fmla="*/ 27350 h 1001926"/>
              <a:gd name="connsiteX139" fmla="*/ 5205916 w 5553421"/>
              <a:gd name="connsiteY139" fmla="*/ 332389 h 1001926"/>
              <a:gd name="connsiteX140" fmla="*/ 5537900 w 5553421"/>
              <a:gd name="connsiteY140" fmla="*/ 332389 h 1001926"/>
              <a:gd name="connsiteX141" fmla="*/ 5549300 w 5553421"/>
              <a:gd name="connsiteY141" fmla="*/ 333893 h 1001926"/>
              <a:gd name="connsiteX142" fmla="*/ 5553421 w 5553421"/>
              <a:gd name="connsiteY142" fmla="*/ 342643 h 1001926"/>
              <a:gd name="connsiteX143" fmla="*/ 5553421 w 5553421"/>
              <a:gd name="connsiteY143" fmla="*/ 599691 h 1001926"/>
              <a:gd name="connsiteX144" fmla="*/ 5549300 w 5553421"/>
              <a:gd name="connsiteY144" fmla="*/ 606117 h 1001926"/>
              <a:gd name="connsiteX145" fmla="*/ 5549163 w 5553421"/>
              <a:gd name="connsiteY145" fmla="*/ 605843 h 1001926"/>
              <a:gd name="connsiteX146" fmla="*/ 5544218 w 5553421"/>
              <a:gd name="connsiteY146" fmla="*/ 608168 h 1001926"/>
              <a:gd name="connsiteX147" fmla="*/ 5217042 w 5553421"/>
              <a:gd name="connsiteY147" fmla="*/ 608168 h 1001926"/>
              <a:gd name="connsiteX148" fmla="*/ 5209350 w 5553421"/>
              <a:gd name="connsiteY148" fmla="*/ 610766 h 1001926"/>
              <a:gd name="connsiteX149" fmla="*/ 5205916 w 5553421"/>
              <a:gd name="connsiteY149" fmla="*/ 618559 h 1001926"/>
              <a:gd name="connsiteX150" fmla="*/ 5205916 w 5553421"/>
              <a:gd name="connsiteY150" fmla="*/ 965573 h 1001926"/>
              <a:gd name="connsiteX151" fmla="*/ 5203306 w 5553421"/>
              <a:gd name="connsiteY151" fmla="*/ 972136 h 1001926"/>
              <a:gd name="connsiteX152" fmla="*/ 5197675 w 5553421"/>
              <a:gd name="connsiteY152" fmla="*/ 974187 h 1001926"/>
              <a:gd name="connsiteX153" fmla="*/ 4938488 w 5553421"/>
              <a:gd name="connsiteY153" fmla="*/ 974187 h 1001926"/>
              <a:gd name="connsiteX154" fmla="*/ 4932033 w 5553421"/>
              <a:gd name="connsiteY154" fmla="*/ 972136 h 1001926"/>
              <a:gd name="connsiteX155" fmla="*/ 4931072 w 5553421"/>
              <a:gd name="connsiteY155" fmla="*/ 964343 h 1001926"/>
              <a:gd name="connsiteX156" fmla="*/ 4931072 w 5553421"/>
              <a:gd name="connsiteY156" fmla="*/ 617329 h 1001926"/>
              <a:gd name="connsiteX157" fmla="*/ 4927225 w 5553421"/>
              <a:gd name="connsiteY157" fmla="*/ 610902 h 1001926"/>
              <a:gd name="connsiteX158" fmla="*/ 4922143 w 5553421"/>
              <a:gd name="connsiteY158" fmla="*/ 608305 h 1001926"/>
              <a:gd name="connsiteX159" fmla="*/ 4587138 w 5553421"/>
              <a:gd name="connsiteY159" fmla="*/ 608305 h 1001926"/>
              <a:gd name="connsiteX160" fmla="*/ 4579446 w 5553421"/>
              <a:gd name="connsiteY160" fmla="*/ 607347 h 1001926"/>
              <a:gd name="connsiteX161" fmla="*/ 4576836 w 5553421"/>
              <a:gd name="connsiteY161" fmla="*/ 596819 h 1001926"/>
              <a:gd name="connsiteX162" fmla="*/ 4576836 w 5553421"/>
              <a:gd name="connsiteY162" fmla="*/ 342643 h 1001926"/>
              <a:gd name="connsiteX163" fmla="*/ 4579446 w 5553421"/>
              <a:gd name="connsiteY163" fmla="*/ 336217 h 1001926"/>
              <a:gd name="connsiteX164" fmla="*/ 4583292 w 5553421"/>
              <a:gd name="connsiteY164" fmla="*/ 335260 h 1001926"/>
              <a:gd name="connsiteX165" fmla="*/ 4925715 w 5553421"/>
              <a:gd name="connsiteY165" fmla="*/ 335260 h 1001926"/>
              <a:gd name="connsiteX166" fmla="*/ 4928462 w 5553421"/>
              <a:gd name="connsiteY166" fmla="*/ 333893 h 1001926"/>
              <a:gd name="connsiteX167" fmla="*/ 4931072 w 5553421"/>
              <a:gd name="connsiteY167" fmla="*/ 329927 h 1001926"/>
              <a:gd name="connsiteX168" fmla="*/ 4931072 w 5553421"/>
              <a:gd name="connsiteY168" fmla="*/ 26119 h 1001926"/>
              <a:gd name="connsiteX169" fmla="*/ 4932033 w 5553421"/>
              <a:gd name="connsiteY169" fmla="*/ 19830 h 1001926"/>
              <a:gd name="connsiteX170" fmla="*/ 4942334 w 5553421"/>
              <a:gd name="connsiteY170" fmla="*/ 18462 h 1001926"/>
              <a:gd name="connsiteX171" fmla="*/ 540039 w 5553421"/>
              <a:gd name="connsiteY171" fmla="*/ 87 h 1001926"/>
              <a:gd name="connsiteX172" fmla="*/ 540041 w 5553421"/>
              <a:gd name="connsiteY172" fmla="*/ 88 h 1001926"/>
              <a:gd name="connsiteX173" fmla="*/ 621538 w 5553421"/>
              <a:gd name="connsiteY173" fmla="*/ 6958 h 1001926"/>
              <a:gd name="connsiteX174" fmla="*/ 643188 w 5553421"/>
              <a:gd name="connsiteY174" fmla="*/ 10572 h 1001926"/>
              <a:gd name="connsiteX175" fmla="*/ 680298 w 5553421"/>
              <a:gd name="connsiteY175" fmla="*/ 18334 h 1001926"/>
              <a:gd name="connsiteX176" fmla="*/ 744529 w 5553421"/>
              <a:gd name="connsiteY176" fmla="*/ 36100 h 1001926"/>
              <a:gd name="connsiteX177" fmla="*/ 744531 w 5553421"/>
              <a:gd name="connsiteY177" fmla="*/ 36100 h 1001926"/>
              <a:gd name="connsiteX178" fmla="*/ 775006 w 5553421"/>
              <a:gd name="connsiteY178" fmla="*/ 47619 h 1001926"/>
              <a:gd name="connsiteX179" fmla="*/ 790757 w 5553421"/>
              <a:gd name="connsiteY179" fmla="*/ 55757 h 1001926"/>
              <a:gd name="connsiteX180" fmla="*/ 834223 w 5553421"/>
              <a:gd name="connsiteY180" fmla="*/ 78212 h 1001926"/>
              <a:gd name="connsiteX181" fmla="*/ 843575 w 5553421"/>
              <a:gd name="connsiteY181" fmla="*/ 85510 h 1001926"/>
              <a:gd name="connsiteX182" fmla="*/ 852027 w 5553421"/>
              <a:gd name="connsiteY182" fmla="*/ 92107 h 1001926"/>
              <a:gd name="connsiteX183" fmla="*/ 855512 w 5553421"/>
              <a:gd name="connsiteY183" fmla="*/ 96260 h 1001926"/>
              <a:gd name="connsiteX184" fmla="*/ 851941 w 5553421"/>
              <a:gd name="connsiteY184" fmla="*/ 118957 h 1001926"/>
              <a:gd name="connsiteX185" fmla="*/ 815817 w 5553421"/>
              <a:gd name="connsiteY185" fmla="*/ 305727 h 1001926"/>
              <a:gd name="connsiteX186" fmla="*/ 809499 w 5553421"/>
              <a:gd name="connsiteY186" fmla="*/ 317212 h 1001926"/>
              <a:gd name="connsiteX187" fmla="*/ 805962 w 5553421"/>
              <a:gd name="connsiteY187" fmla="*/ 316323 h 1001926"/>
              <a:gd name="connsiteX188" fmla="*/ 789445 w 5553421"/>
              <a:gd name="connsiteY188" fmla="*/ 306820 h 1001926"/>
              <a:gd name="connsiteX189" fmla="*/ 562780 w 5553421"/>
              <a:gd name="connsiteY189" fmla="*/ 235526 h 1001926"/>
              <a:gd name="connsiteX190" fmla="*/ 562780 w 5553421"/>
              <a:gd name="connsiteY190" fmla="*/ 235526 h 1001926"/>
              <a:gd name="connsiteX191" fmla="*/ 562780 w 5553421"/>
              <a:gd name="connsiteY191" fmla="*/ 235526 h 1001926"/>
              <a:gd name="connsiteX192" fmla="*/ 540011 w 5553421"/>
              <a:gd name="connsiteY192" fmla="*/ 235859 h 1001926"/>
              <a:gd name="connsiteX193" fmla="*/ 283022 w 5553421"/>
              <a:gd name="connsiteY193" fmla="*/ 430422 h 1001926"/>
              <a:gd name="connsiteX194" fmla="*/ 355820 w 5553421"/>
              <a:gd name="connsiteY194" fmla="*/ 710303 h 1001926"/>
              <a:gd name="connsiteX195" fmla="*/ 559103 w 5553421"/>
              <a:gd name="connsiteY195" fmla="*/ 769780 h 1001926"/>
              <a:gd name="connsiteX196" fmla="*/ 559103 w 5553421"/>
              <a:gd name="connsiteY196" fmla="*/ 769780 h 1001926"/>
              <a:gd name="connsiteX197" fmla="*/ 559103 w 5553421"/>
              <a:gd name="connsiteY197" fmla="*/ 769780 h 1001926"/>
              <a:gd name="connsiteX198" fmla="*/ 710055 w 5553421"/>
              <a:gd name="connsiteY198" fmla="*/ 731359 h 1001926"/>
              <a:gd name="connsiteX199" fmla="*/ 717747 w 5553421"/>
              <a:gd name="connsiteY199" fmla="*/ 729035 h 1001926"/>
              <a:gd name="connsiteX200" fmla="*/ 735294 w 5553421"/>
              <a:gd name="connsiteY200" fmla="*/ 721805 h 1001926"/>
              <a:gd name="connsiteX201" fmla="*/ 739449 w 5553421"/>
              <a:gd name="connsiteY201" fmla="*/ 721241 h 1001926"/>
              <a:gd name="connsiteX202" fmla="*/ 741011 w 5553421"/>
              <a:gd name="connsiteY202" fmla="*/ 724677 h 1001926"/>
              <a:gd name="connsiteX203" fmla="*/ 740822 w 5553421"/>
              <a:gd name="connsiteY203" fmla="*/ 736828 h 1001926"/>
              <a:gd name="connsiteX204" fmla="*/ 704835 w 5553421"/>
              <a:gd name="connsiteY204" fmla="*/ 941236 h 1001926"/>
              <a:gd name="connsiteX205" fmla="*/ 698517 w 5553421"/>
              <a:gd name="connsiteY205" fmla="*/ 959147 h 1001926"/>
              <a:gd name="connsiteX206" fmla="*/ 684232 w 5553421"/>
              <a:gd name="connsiteY206" fmla="*/ 966667 h 1001926"/>
              <a:gd name="connsiteX207" fmla="*/ 592090 w 5553421"/>
              <a:gd name="connsiteY207" fmla="*/ 992891 h 1001926"/>
              <a:gd name="connsiteX208" fmla="*/ 508832 w 5553421"/>
              <a:gd name="connsiteY208" fmla="*/ 1001926 h 1001926"/>
              <a:gd name="connsiteX209" fmla="*/ 448547 w 5553421"/>
              <a:gd name="connsiteY209" fmla="*/ 1001603 h 1001926"/>
              <a:gd name="connsiteX210" fmla="*/ 425321 w 5553421"/>
              <a:gd name="connsiteY210" fmla="*/ 999755 h 1001926"/>
              <a:gd name="connsiteX211" fmla="*/ 18479 w 5553421"/>
              <a:gd name="connsiteY211" fmla="*/ 666824 h 1001926"/>
              <a:gd name="connsiteX212" fmla="*/ 115726 w 5553421"/>
              <a:gd name="connsiteY212" fmla="*/ 181168 h 1001926"/>
              <a:gd name="connsiteX213" fmla="*/ 433974 w 5553421"/>
              <a:gd name="connsiteY213" fmla="*/ 6840 h 1001926"/>
              <a:gd name="connsiteX214" fmla="*/ 540039 w 5553421"/>
              <a:gd name="connsiteY214" fmla="*/ 87 h 10019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</a:cxnLst>
            <a:rect l="l" t="t" r="r" b="b"/>
            <a:pathLst>
              <a:path w="5553421" h="1001926">
                <a:moveTo>
                  <a:pt x="1358951" y="307044"/>
                </a:moveTo>
                <a:lnTo>
                  <a:pt x="1358951" y="307044"/>
                </a:lnTo>
                <a:lnTo>
                  <a:pt x="1358951" y="307044"/>
                </a:lnTo>
                <a:lnTo>
                  <a:pt x="1358951" y="307044"/>
                </a:lnTo>
                <a:close/>
                <a:moveTo>
                  <a:pt x="1359188" y="306820"/>
                </a:moveTo>
                <a:lnTo>
                  <a:pt x="1358914" y="306957"/>
                </a:lnTo>
                <a:lnTo>
                  <a:pt x="1358951" y="307044"/>
                </a:lnTo>
                <a:lnTo>
                  <a:pt x="1356441" y="309418"/>
                </a:lnTo>
                <a:lnTo>
                  <a:pt x="1229252" y="598050"/>
                </a:lnTo>
                <a:cubicBezTo>
                  <a:pt x="1226642" y="602015"/>
                  <a:pt x="1227604" y="604613"/>
                  <a:pt x="1227604" y="604613"/>
                </a:cubicBezTo>
                <a:cubicBezTo>
                  <a:pt x="1227604" y="604613"/>
                  <a:pt x="1229252" y="605980"/>
                  <a:pt x="1235158" y="605980"/>
                </a:cubicBezTo>
                <a:lnTo>
                  <a:pt x="1420397" y="607329"/>
                </a:lnTo>
                <a:lnTo>
                  <a:pt x="1422921" y="607347"/>
                </a:lnTo>
                <a:lnTo>
                  <a:pt x="1422921" y="607347"/>
                </a:lnTo>
                <a:lnTo>
                  <a:pt x="1422921" y="607347"/>
                </a:lnTo>
                <a:cubicBezTo>
                  <a:pt x="1424294" y="607347"/>
                  <a:pt x="1425256" y="605980"/>
                  <a:pt x="1425256" y="605980"/>
                </a:cubicBezTo>
                <a:cubicBezTo>
                  <a:pt x="1425256" y="605980"/>
                  <a:pt x="1426767" y="604613"/>
                  <a:pt x="1425256" y="600921"/>
                </a:cubicBezTo>
                <a:lnTo>
                  <a:pt x="1360013" y="309555"/>
                </a:lnTo>
                <a:lnTo>
                  <a:pt x="1358951" y="307044"/>
                </a:lnTo>
                <a:close/>
                <a:moveTo>
                  <a:pt x="3480067" y="303402"/>
                </a:moveTo>
                <a:cubicBezTo>
                  <a:pt x="3480067" y="303402"/>
                  <a:pt x="3479105" y="303402"/>
                  <a:pt x="3477869" y="308051"/>
                </a:cubicBezTo>
                <a:lnTo>
                  <a:pt x="3350130" y="595862"/>
                </a:lnTo>
                <a:cubicBezTo>
                  <a:pt x="3348757" y="600238"/>
                  <a:pt x="3348345" y="602767"/>
                  <a:pt x="3348276" y="604203"/>
                </a:cubicBezTo>
                <a:lnTo>
                  <a:pt x="3348276" y="604203"/>
                </a:lnTo>
                <a:lnTo>
                  <a:pt x="3348276" y="604203"/>
                </a:lnTo>
                <a:cubicBezTo>
                  <a:pt x="3348207" y="605638"/>
                  <a:pt x="3348482" y="605980"/>
                  <a:pt x="3348482" y="605980"/>
                </a:cubicBezTo>
                <a:cubicBezTo>
                  <a:pt x="3348482" y="605980"/>
                  <a:pt x="3352465" y="608305"/>
                  <a:pt x="3355350" y="608305"/>
                </a:cubicBezTo>
                <a:lnTo>
                  <a:pt x="3544348" y="607347"/>
                </a:lnTo>
                <a:lnTo>
                  <a:pt x="3546958" y="607347"/>
                </a:lnTo>
                <a:cubicBezTo>
                  <a:pt x="3546958" y="607347"/>
                  <a:pt x="3548057" y="605980"/>
                  <a:pt x="3546958" y="602152"/>
                </a:cubicBezTo>
                <a:lnTo>
                  <a:pt x="3482814" y="306957"/>
                </a:lnTo>
                <a:cubicBezTo>
                  <a:pt x="3481853" y="303539"/>
                  <a:pt x="3480204" y="303539"/>
                  <a:pt x="3480204" y="303539"/>
                </a:cubicBezTo>
                <a:close/>
                <a:moveTo>
                  <a:pt x="2001729" y="38561"/>
                </a:moveTo>
                <a:lnTo>
                  <a:pt x="2261328" y="38561"/>
                </a:lnTo>
                <a:cubicBezTo>
                  <a:pt x="2265036" y="38561"/>
                  <a:pt x="2267646" y="41296"/>
                  <a:pt x="2267646" y="41296"/>
                </a:cubicBezTo>
                <a:cubicBezTo>
                  <a:pt x="2267646" y="41296"/>
                  <a:pt x="2270118" y="42390"/>
                  <a:pt x="2271354" y="46491"/>
                </a:cubicBezTo>
                <a:lnTo>
                  <a:pt x="2564055" y="557305"/>
                </a:lnTo>
                <a:cubicBezTo>
                  <a:pt x="2569000" y="567970"/>
                  <a:pt x="2572846" y="566329"/>
                  <a:pt x="2572846" y="566329"/>
                </a:cubicBezTo>
                <a:cubicBezTo>
                  <a:pt x="2572846" y="566329"/>
                  <a:pt x="2576966" y="566329"/>
                  <a:pt x="2579439" y="554981"/>
                </a:cubicBezTo>
                <a:lnTo>
                  <a:pt x="2653472" y="46491"/>
                </a:lnTo>
                <a:cubicBezTo>
                  <a:pt x="2653472" y="42390"/>
                  <a:pt x="2656082" y="41296"/>
                  <a:pt x="2656082" y="41296"/>
                </a:cubicBezTo>
                <a:cubicBezTo>
                  <a:pt x="2656082" y="41296"/>
                  <a:pt x="2657318" y="38561"/>
                  <a:pt x="2661164" y="38561"/>
                </a:cubicBezTo>
                <a:lnTo>
                  <a:pt x="2905379" y="41296"/>
                </a:lnTo>
                <a:cubicBezTo>
                  <a:pt x="2910324" y="41296"/>
                  <a:pt x="2911697" y="42390"/>
                  <a:pt x="2911697" y="42390"/>
                </a:cubicBezTo>
                <a:cubicBezTo>
                  <a:pt x="2911697" y="42390"/>
                  <a:pt x="2912796" y="43757"/>
                  <a:pt x="2912796" y="46491"/>
                </a:cubicBezTo>
                <a:lnTo>
                  <a:pt x="2781349" y="965710"/>
                </a:lnTo>
                <a:cubicBezTo>
                  <a:pt x="2780112" y="970906"/>
                  <a:pt x="2777503" y="974324"/>
                  <a:pt x="2777503" y="974324"/>
                </a:cubicBezTo>
                <a:cubicBezTo>
                  <a:pt x="2777503" y="974324"/>
                  <a:pt x="2775992" y="975965"/>
                  <a:pt x="2769674" y="975965"/>
                </a:cubicBezTo>
                <a:lnTo>
                  <a:pt x="2769811" y="975828"/>
                </a:lnTo>
                <a:lnTo>
                  <a:pt x="2528343" y="975828"/>
                </a:lnTo>
                <a:cubicBezTo>
                  <a:pt x="2528343" y="975828"/>
                  <a:pt x="2526970" y="974187"/>
                  <a:pt x="2525871" y="973230"/>
                </a:cubicBezTo>
                <a:lnTo>
                  <a:pt x="2270801" y="522580"/>
                </a:lnTo>
                <a:lnTo>
                  <a:pt x="2201304" y="399795"/>
                </a:lnTo>
                <a:lnTo>
                  <a:pt x="2199752" y="398691"/>
                </a:lnTo>
                <a:lnTo>
                  <a:pt x="2197458" y="397061"/>
                </a:lnTo>
                <a:lnTo>
                  <a:pt x="2197458" y="397061"/>
                </a:lnTo>
                <a:lnTo>
                  <a:pt x="2197458" y="397061"/>
                </a:lnTo>
                <a:cubicBezTo>
                  <a:pt x="2197458" y="397061"/>
                  <a:pt x="2194986" y="397061"/>
                  <a:pt x="2194986" y="400889"/>
                </a:cubicBezTo>
                <a:lnTo>
                  <a:pt x="2114634" y="964343"/>
                </a:lnTo>
                <a:cubicBezTo>
                  <a:pt x="2113123" y="970769"/>
                  <a:pt x="2111887" y="972136"/>
                  <a:pt x="2111887" y="972136"/>
                </a:cubicBezTo>
                <a:cubicBezTo>
                  <a:pt x="2111887" y="972136"/>
                  <a:pt x="2109140" y="973230"/>
                  <a:pt x="2105431" y="973230"/>
                </a:cubicBezTo>
                <a:lnTo>
                  <a:pt x="1872617" y="973230"/>
                </a:lnTo>
                <a:cubicBezTo>
                  <a:pt x="1868908" y="973230"/>
                  <a:pt x="1866573" y="970769"/>
                  <a:pt x="1866573" y="970769"/>
                </a:cubicBezTo>
                <a:cubicBezTo>
                  <a:pt x="1866573" y="970769"/>
                  <a:pt x="1861354" y="965573"/>
                  <a:pt x="1862315" y="960651"/>
                </a:cubicBezTo>
                <a:lnTo>
                  <a:pt x="1990329" y="48952"/>
                </a:lnTo>
                <a:cubicBezTo>
                  <a:pt x="1991565" y="43757"/>
                  <a:pt x="1994037" y="42390"/>
                  <a:pt x="1994037" y="42390"/>
                </a:cubicBezTo>
                <a:cubicBezTo>
                  <a:pt x="1994037" y="42390"/>
                  <a:pt x="1997746" y="38561"/>
                  <a:pt x="2001729" y="38561"/>
                </a:cubicBezTo>
                <a:close/>
                <a:moveTo>
                  <a:pt x="1243949" y="37467"/>
                </a:moveTo>
                <a:lnTo>
                  <a:pt x="1545715" y="37467"/>
                </a:lnTo>
                <a:cubicBezTo>
                  <a:pt x="1550385" y="37467"/>
                  <a:pt x="1554368" y="41432"/>
                  <a:pt x="1554368" y="41432"/>
                </a:cubicBezTo>
                <a:cubicBezTo>
                  <a:pt x="1554368" y="41432"/>
                  <a:pt x="1555742" y="42526"/>
                  <a:pt x="1556978" y="46628"/>
                </a:cubicBezTo>
                <a:lnTo>
                  <a:pt x="1753806" y="966941"/>
                </a:lnTo>
                <a:cubicBezTo>
                  <a:pt x="1753806" y="971042"/>
                  <a:pt x="1751196" y="972410"/>
                  <a:pt x="1751196" y="972410"/>
                </a:cubicBezTo>
                <a:cubicBezTo>
                  <a:pt x="1751196" y="972410"/>
                  <a:pt x="1750097" y="973504"/>
                  <a:pt x="1747487" y="973504"/>
                </a:cubicBezTo>
                <a:lnTo>
                  <a:pt x="1747625" y="973230"/>
                </a:lnTo>
                <a:lnTo>
                  <a:pt x="1520167" y="974187"/>
                </a:lnTo>
                <a:cubicBezTo>
                  <a:pt x="1514948" y="974187"/>
                  <a:pt x="1510964" y="972136"/>
                  <a:pt x="1510964" y="972136"/>
                </a:cubicBezTo>
                <a:cubicBezTo>
                  <a:pt x="1510964" y="972136"/>
                  <a:pt x="1509591" y="970769"/>
                  <a:pt x="1508629" y="961745"/>
                </a:cubicBezTo>
                <a:lnTo>
                  <a:pt x="1472780" y="815447"/>
                </a:lnTo>
                <a:cubicBezTo>
                  <a:pt x="1472780" y="811755"/>
                  <a:pt x="1470308" y="810388"/>
                  <a:pt x="1470308" y="810388"/>
                </a:cubicBezTo>
                <a:lnTo>
                  <a:pt x="1470308" y="810388"/>
                </a:lnTo>
                <a:lnTo>
                  <a:pt x="1146016" y="810388"/>
                </a:lnTo>
                <a:cubicBezTo>
                  <a:pt x="1139423" y="810388"/>
                  <a:pt x="1135714" y="815447"/>
                  <a:pt x="1135714" y="815447"/>
                </a:cubicBezTo>
                <a:cubicBezTo>
                  <a:pt x="1135714" y="815447"/>
                  <a:pt x="1130357" y="819412"/>
                  <a:pt x="1126511" y="828299"/>
                </a:cubicBezTo>
                <a:lnTo>
                  <a:pt x="1062779" y="964343"/>
                </a:lnTo>
                <a:cubicBezTo>
                  <a:pt x="1060307" y="969128"/>
                  <a:pt x="1058796" y="970769"/>
                  <a:pt x="1058796" y="970769"/>
                </a:cubicBezTo>
                <a:cubicBezTo>
                  <a:pt x="1058796" y="970769"/>
                  <a:pt x="1054813" y="973230"/>
                  <a:pt x="1051242" y="973230"/>
                </a:cubicBezTo>
                <a:lnTo>
                  <a:pt x="786424" y="973230"/>
                </a:lnTo>
                <a:cubicBezTo>
                  <a:pt x="779006" y="974187"/>
                  <a:pt x="777770" y="970769"/>
                  <a:pt x="777770" y="970769"/>
                </a:cubicBezTo>
                <a:cubicBezTo>
                  <a:pt x="777770" y="970769"/>
                  <a:pt x="776397" y="966667"/>
                  <a:pt x="779006" y="961745"/>
                </a:cubicBezTo>
                <a:lnTo>
                  <a:pt x="1237768" y="43757"/>
                </a:lnTo>
                <a:cubicBezTo>
                  <a:pt x="1240378" y="38561"/>
                  <a:pt x="1243949" y="37467"/>
                  <a:pt x="1243949" y="37467"/>
                </a:cubicBezTo>
                <a:close/>
                <a:moveTo>
                  <a:pt x="4112855" y="37331"/>
                </a:moveTo>
                <a:lnTo>
                  <a:pt x="4365724" y="37331"/>
                </a:lnTo>
                <a:cubicBezTo>
                  <a:pt x="4372316" y="37331"/>
                  <a:pt x="4374789" y="38561"/>
                  <a:pt x="4374789" y="38561"/>
                </a:cubicBezTo>
                <a:cubicBezTo>
                  <a:pt x="4374789" y="38561"/>
                  <a:pt x="4375888" y="42390"/>
                  <a:pt x="4374789" y="47312"/>
                </a:cubicBezTo>
                <a:lnTo>
                  <a:pt x="4276169" y="753509"/>
                </a:lnTo>
                <a:cubicBezTo>
                  <a:pt x="4274933" y="761029"/>
                  <a:pt x="4278779" y="761986"/>
                  <a:pt x="4278779" y="761986"/>
                </a:cubicBezTo>
                <a:cubicBezTo>
                  <a:pt x="4278779" y="761986"/>
                  <a:pt x="4281526" y="763490"/>
                  <a:pt x="4291552" y="763490"/>
                </a:cubicBezTo>
                <a:lnTo>
                  <a:pt x="4552387" y="763490"/>
                </a:lnTo>
                <a:cubicBezTo>
                  <a:pt x="4557469" y="763490"/>
                  <a:pt x="4560079" y="766088"/>
                  <a:pt x="4560079" y="766088"/>
                </a:cubicBezTo>
                <a:cubicBezTo>
                  <a:pt x="4560079" y="766088"/>
                  <a:pt x="4561590" y="767319"/>
                  <a:pt x="4561590" y="773608"/>
                </a:cubicBezTo>
                <a:lnTo>
                  <a:pt x="4535905" y="963249"/>
                </a:lnTo>
                <a:cubicBezTo>
                  <a:pt x="4534394" y="970769"/>
                  <a:pt x="4533295" y="973230"/>
                  <a:pt x="4533295" y="973230"/>
                </a:cubicBezTo>
                <a:cubicBezTo>
                  <a:pt x="4533295" y="973230"/>
                  <a:pt x="4531921" y="975828"/>
                  <a:pt x="4525466" y="975828"/>
                </a:cubicBezTo>
                <a:lnTo>
                  <a:pt x="3999127" y="975828"/>
                </a:lnTo>
                <a:cubicBezTo>
                  <a:pt x="3983606" y="975828"/>
                  <a:pt x="3979760" y="972136"/>
                  <a:pt x="3979760" y="972136"/>
                </a:cubicBezTo>
                <a:cubicBezTo>
                  <a:pt x="3979760" y="972136"/>
                  <a:pt x="3977287" y="966667"/>
                  <a:pt x="3978661" y="955456"/>
                </a:cubicBezTo>
                <a:lnTo>
                  <a:pt x="4109010" y="52644"/>
                </a:lnTo>
                <a:cubicBezTo>
                  <a:pt x="4109971" y="41296"/>
                  <a:pt x="4112855" y="37331"/>
                  <a:pt x="4112855" y="37331"/>
                </a:cubicBezTo>
                <a:close/>
                <a:moveTo>
                  <a:pt x="3376777" y="37331"/>
                </a:moveTo>
                <a:lnTo>
                  <a:pt x="3664258" y="37331"/>
                </a:lnTo>
                <a:cubicBezTo>
                  <a:pt x="3670714" y="37331"/>
                  <a:pt x="3674697" y="41296"/>
                  <a:pt x="3674697" y="41296"/>
                </a:cubicBezTo>
                <a:cubicBezTo>
                  <a:pt x="3674697" y="41296"/>
                  <a:pt x="3675933" y="42390"/>
                  <a:pt x="3677170" y="46491"/>
                </a:cubicBezTo>
                <a:lnTo>
                  <a:pt x="3869877" y="972136"/>
                </a:lnTo>
                <a:cubicBezTo>
                  <a:pt x="3869877" y="974187"/>
                  <a:pt x="3868778" y="975828"/>
                  <a:pt x="3868778" y="975828"/>
                </a:cubicBezTo>
                <a:cubicBezTo>
                  <a:pt x="3868778" y="975828"/>
                  <a:pt x="3868778" y="976785"/>
                  <a:pt x="3864932" y="976785"/>
                </a:cubicBezTo>
                <a:lnTo>
                  <a:pt x="3631018" y="976785"/>
                </a:lnTo>
                <a:cubicBezTo>
                  <a:pt x="3626074" y="979656"/>
                  <a:pt x="3621953" y="974050"/>
                  <a:pt x="3621953" y="974050"/>
                </a:cubicBezTo>
                <a:cubicBezTo>
                  <a:pt x="3621953" y="974050"/>
                  <a:pt x="3620854" y="973093"/>
                  <a:pt x="3619481" y="965437"/>
                </a:cubicBezTo>
                <a:lnTo>
                  <a:pt x="3588988" y="822146"/>
                </a:lnTo>
                <a:cubicBezTo>
                  <a:pt x="3586516" y="814216"/>
                  <a:pt x="3583906" y="810388"/>
                  <a:pt x="3583906" y="810388"/>
                </a:cubicBezTo>
                <a:cubicBezTo>
                  <a:pt x="3583906" y="810388"/>
                  <a:pt x="3577451" y="806696"/>
                  <a:pt x="3569759" y="806696"/>
                </a:cubicBezTo>
                <a:lnTo>
                  <a:pt x="3265520" y="806696"/>
                </a:lnTo>
                <a:cubicBezTo>
                  <a:pt x="3259477" y="806696"/>
                  <a:pt x="3255494" y="810388"/>
                  <a:pt x="3255494" y="810388"/>
                </a:cubicBezTo>
                <a:cubicBezTo>
                  <a:pt x="3255494" y="810388"/>
                  <a:pt x="3250412" y="815447"/>
                  <a:pt x="3247664" y="823103"/>
                </a:cubicBezTo>
                <a:lnTo>
                  <a:pt x="3178850" y="969128"/>
                </a:lnTo>
                <a:cubicBezTo>
                  <a:pt x="3177339" y="973230"/>
                  <a:pt x="3175004" y="974187"/>
                  <a:pt x="3175004" y="974187"/>
                </a:cubicBezTo>
                <a:cubicBezTo>
                  <a:pt x="3175004" y="974187"/>
                  <a:pt x="3170060" y="975828"/>
                  <a:pt x="3167038" y="975828"/>
                </a:cubicBezTo>
                <a:lnTo>
                  <a:pt x="2904005" y="975828"/>
                </a:lnTo>
                <a:cubicBezTo>
                  <a:pt x="2897825" y="976785"/>
                  <a:pt x="2895215" y="973230"/>
                  <a:pt x="2895215" y="973230"/>
                </a:cubicBezTo>
                <a:cubicBezTo>
                  <a:pt x="2895215" y="973230"/>
                  <a:pt x="2893979" y="970769"/>
                  <a:pt x="2897825" y="965573"/>
                </a:cubicBezTo>
                <a:lnTo>
                  <a:pt x="3361531" y="43757"/>
                </a:lnTo>
                <a:cubicBezTo>
                  <a:pt x="3364003" y="42390"/>
                  <a:pt x="3366476" y="38561"/>
                  <a:pt x="3366476" y="38561"/>
                </a:cubicBezTo>
                <a:cubicBezTo>
                  <a:pt x="3366476" y="38561"/>
                  <a:pt x="3369222" y="37331"/>
                  <a:pt x="3376777" y="37331"/>
                </a:cubicBezTo>
                <a:close/>
                <a:moveTo>
                  <a:pt x="4942334" y="18462"/>
                </a:moveTo>
                <a:lnTo>
                  <a:pt x="5196714" y="18462"/>
                </a:lnTo>
                <a:cubicBezTo>
                  <a:pt x="5201796" y="18462"/>
                  <a:pt x="5203306" y="19830"/>
                  <a:pt x="5203306" y="19830"/>
                </a:cubicBezTo>
                <a:cubicBezTo>
                  <a:pt x="5203306" y="19830"/>
                  <a:pt x="5205916" y="22564"/>
                  <a:pt x="5205916" y="27350"/>
                </a:cubicBezTo>
                <a:lnTo>
                  <a:pt x="5205916" y="332389"/>
                </a:lnTo>
                <a:lnTo>
                  <a:pt x="5537900" y="332389"/>
                </a:lnTo>
                <a:cubicBezTo>
                  <a:pt x="5546828" y="332389"/>
                  <a:pt x="5549300" y="333893"/>
                  <a:pt x="5549300" y="333893"/>
                </a:cubicBezTo>
                <a:cubicBezTo>
                  <a:pt x="5549300" y="333893"/>
                  <a:pt x="5553421" y="335260"/>
                  <a:pt x="5553421" y="342643"/>
                </a:cubicBezTo>
                <a:lnTo>
                  <a:pt x="5553421" y="599691"/>
                </a:lnTo>
                <a:cubicBezTo>
                  <a:pt x="5553421" y="602152"/>
                  <a:pt x="5549300" y="606117"/>
                  <a:pt x="5549300" y="606117"/>
                </a:cubicBezTo>
                <a:lnTo>
                  <a:pt x="5549163" y="605843"/>
                </a:lnTo>
                <a:cubicBezTo>
                  <a:pt x="5549163" y="605843"/>
                  <a:pt x="5548202" y="608168"/>
                  <a:pt x="5544218" y="608168"/>
                </a:cubicBezTo>
                <a:lnTo>
                  <a:pt x="5217042" y="608168"/>
                </a:lnTo>
                <a:cubicBezTo>
                  <a:pt x="5211822" y="608168"/>
                  <a:pt x="5209350" y="610766"/>
                  <a:pt x="5209350" y="610766"/>
                </a:cubicBezTo>
                <a:cubicBezTo>
                  <a:pt x="5209350" y="610766"/>
                  <a:pt x="5205916" y="611996"/>
                  <a:pt x="5205916" y="618559"/>
                </a:cubicBezTo>
                <a:lnTo>
                  <a:pt x="5205916" y="965573"/>
                </a:lnTo>
                <a:cubicBezTo>
                  <a:pt x="5205916" y="970769"/>
                  <a:pt x="5203306" y="972136"/>
                  <a:pt x="5203306" y="972136"/>
                </a:cubicBezTo>
                <a:cubicBezTo>
                  <a:pt x="5203306" y="972136"/>
                  <a:pt x="5201796" y="974187"/>
                  <a:pt x="5197675" y="974187"/>
                </a:cubicBezTo>
                <a:lnTo>
                  <a:pt x="4938488" y="974187"/>
                </a:lnTo>
                <a:cubicBezTo>
                  <a:pt x="4934505" y="974187"/>
                  <a:pt x="4932033" y="972136"/>
                  <a:pt x="4932033" y="972136"/>
                </a:cubicBezTo>
                <a:cubicBezTo>
                  <a:pt x="4932033" y="972136"/>
                  <a:pt x="4931072" y="970769"/>
                  <a:pt x="4931072" y="964343"/>
                </a:cubicBezTo>
                <a:lnTo>
                  <a:pt x="4931072" y="617329"/>
                </a:lnTo>
                <a:cubicBezTo>
                  <a:pt x="4931072" y="613363"/>
                  <a:pt x="4927225" y="610902"/>
                  <a:pt x="4927225" y="610902"/>
                </a:cubicBezTo>
                <a:cubicBezTo>
                  <a:pt x="4927225" y="610902"/>
                  <a:pt x="4925715" y="608305"/>
                  <a:pt x="4922143" y="608305"/>
                </a:cubicBezTo>
                <a:lnTo>
                  <a:pt x="4587138" y="608305"/>
                </a:lnTo>
                <a:cubicBezTo>
                  <a:pt x="4580820" y="608305"/>
                  <a:pt x="4579446" y="607347"/>
                  <a:pt x="4579446" y="607347"/>
                </a:cubicBezTo>
                <a:cubicBezTo>
                  <a:pt x="4579446" y="607347"/>
                  <a:pt x="4576836" y="604613"/>
                  <a:pt x="4576836" y="596819"/>
                </a:cubicBezTo>
                <a:lnTo>
                  <a:pt x="4576836" y="342643"/>
                </a:lnTo>
                <a:cubicBezTo>
                  <a:pt x="4576836" y="339772"/>
                  <a:pt x="4579446" y="336217"/>
                  <a:pt x="4579446" y="336217"/>
                </a:cubicBezTo>
                <a:cubicBezTo>
                  <a:pt x="4579446" y="336217"/>
                  <a:pt x="4580820" y="335260"/>
                  <a:pt x="4583292" y="335260"/>
                </a:cubicBezTo>
                <a:lnTo>
                  <a:pt x="4925715" y="335260"/>
                </a:lnTo>
                <a:cubicBezTo>
                  <a:pt x="4928462" y="335260"/>
                  <a:pt x="4928462" y="333893"/>
                  <a:pt x="4928462" y="333893"/>
                </a:cubicBezTo>
                <a:cubicBezTo>
                  <a:pt x="4928462" y="333893"/>
                  <a:pt x="4931072" y="332389"/>
                  <a:pt x="4931072" y="329927"/>
                </a:cubicBezTo>
                <a:lnTo>
                  <a:pt x="4931072" y="26119"/>
                </a:lnTo>
                <a:cubicBezTo>
                  <a:pt x="4931072" y="22564"/>
                  <a:pt x="4932033" y="19830"/>
                  <a:pt x="4932033" y="19830"/>
                </a:cubicBezTo>
                <a:cubicBezTo>
                  <a:pt x="4932033" y="19830"/>
                  <a:pt x="4934505" y="18462"/>
                  <a:pt x="4942334" y="18462"/>
                </a:cubicBezTo>
                <a:close/>
                <a:moveTo>
                  <a:pt x="540039" y="87"/>
                </a:moveTo>
                <a:lnTo>
                  <a:pt x="540041" y="88"/>
                </a:lnTo>
                <a:lnTo>
                  <a:pt x="621538" y="6958"/>
                </a:lnTo>
                <a:lnTo>
                  <a:pt x="643188" y="10572"/>
                </a:lnTo>
                <a:lnTo>
                  <a:pt x="680298" y="18334"/>
                </a:lnTo>
                <a:lnTo>
                  <a:pt x="744529" y="36100"/>
                </a:lnTo>
                <a:lnTo>
                  <a:pt x="744531" y="36100"/>
                </a:lnTo>
                <a:cubicBezTo>
                  <a:pt x="744531" y="36100"/>
                  <a:pt x="757374" y="40270"/>
                  <a:pt x="775006" y="47619"/>
                </a:cubicBezTo>
                <a:lnTo>
                  <a:pt x="790757" y="55757"/>
                </a:lnTo>
                <a:lnTo>
                  <a:pt x="834223" y="78212"/>
                </a:lnTo>
                <a:lnTo>
                  <a:pt x="843575" y="85510"/>
                </a:lnTo>
                <a:lnTo>
                  <a:pt x="852027" y="92107"/>
                </a:lnTo>
                <a:cubicBezTo>
                  <a:pt x="854963" y="94995"/>
                  <a:pt x="855512" y="96260"/>
                  <a:pt x="855512" y="96260"/>
                </a:cubicBezTo>
                <a:cubicBezTo>
                  <a:pt x="855512" y="96260"/>
                  <a:pt x="856886" y="98448"/>
                  <a:pt x="851941" y="118957"/>
                </a:cubicBezTo>
                <a:lnTo>
                  <a:pt x="815817" y="305727"/>
                </a:lnTo>
                <a:lnTo>
                  <a:pt x="809499" y="317212"/>
                </a:lnTo>
                <a:lnTo>
                  <a:pt x="805962" y="316323"/>
                </a:lnTo>
                <a:cubicBezTo>
                  <a:pt x="803112" y="315161"/>
                  <a:pt x="798099" y="312563"/>
                  <a:pt x="789445" y="306820"/>
                </a:cubicBezTo>
                <a:cubicBezTo>
                  <a:pt x="703016" y="245908"/>
                  <a:pt x="605924" y="236449"/>
                  <a:pt x="562780" y="235526"/>
                </a:cubicBezTo>
                <a:lnTo>
                  <a:pt x="562780" y="235526"/>
                </a:lnTo>
                <a:lnTo>
                  <a:pt x="562780" y="235526"/>
                </a:lnTo>
                <a:cubicBezTo>
                  <a:pt x="548398" y="235218"/>
                  <a:pt x="540011" y="235859"/>
                  <a:pt x="540011" y="235859"/>
                </a:cubicBezTo>
                <a:cubicBezTo>
                  <a:pt x="437820" y="242422"/>
                  <a:pt x="319009" y="295609"/>
                  <a:pt x="283022" y="430422"/>
                </a:cubicBezTo>
                <a:cubicBezTo>
                  <a:pt x="251294" y="549922"/>
                  <a:pt x="284671" y="650280"/>
                  <a:pt x="355820" y="710303"/>
                </a:cubicBezTo>
                <a:cubicBezTo>
                  <a:pt x="404718" y="751732"/>
                  <a:pt x="480125" y="773608"/>
                  <a:pt x="559103" y="769780"/>
                </a:cubicBezTo>
                <a:lnTo>
                  <a:pt x="559103" y="769780"/>
                </a:lnTo>
                <a:lnTo>
                  <a:pt x="559103" y="769780"/>
                </a:lnTo>
                <a:cubicBezTo>
                  <a:pt x="646186" y="763490"/>
                  <a:pt x="715000" y="729035"/>
                  <a:pt x="710055" y="731359"/>
                </a:cubicBezTo>
                <a:cubicBezTo>
                  <a:pt x="710055" y="731359"/>
                  <a:pt x="713763" y="730402"/>
                  <a:pt x="717747" y="729035"/>
                </a:cubicBezTo>
                <a:cubicBezTo>
                  <a:pt x="726675" y="724592"/>
                  <a:pt x="732101" y="722643"/>
                  <a:pt x="735294" y="721805"/>
                </a:cubicBezTo>
                <a:lnTo>
                  <a:pt x="739449" y="721241"/>
                </a:lnTo>
                <a:lnTo>
                  <a:pt x="741011" y="724677"/>
                </a:lnTo>
                <a:cubicBezTo>
                  <a:pt x="741646" y="727121"/>
                  <a:pt x="741990" y="731018"/>
                  <a:pt x="740822" y="736828"/>
                </a:cubicBezTo>
                <a:lnTo>
                  <a:pt x="704835" y="941236"/>
                </a:lnTo>
                <a:cubicBezTo>
                  <a:pt x="703599" y="951627"/>
                  <a:pt x="698517" y="959147"/>
                  <a:pt x="698517" y="959147"/>
                </a:cubicBezTo>
                <a:cubicBezTo>
                  <a:pt x="698517" y="959147"/>
                  <a:pt x="693572" y="964343"/>
                  <a:pt x="684232" y="966667"/>
                </a:cubicBezTo>
                <a:cubicBezTo>
                  <a:pt x="653602" y="979144"/>
                  <a:pt x="622106" y="987450"/>
                  <a:pt x="592090" y="992891"/>
                </a:cubicBezTo>
                <a:lnTo>
                  <a:pt x="508832" y="1001926"/>
                </a:lnTo>
                <a:lnTo>
                  <a:pt x="448547" y="1001603"/>
                </a:lnTo>
                <a:cubicBezTo>
                  <a:pt x="433846" y="1000806"/>
                  <a:pt x="425321" y="999755"/>
                  <a:pt x="425321" y="999755"/>
                </a:cubicBezTo>
                <a:cubicBezTo>
                  <a:pt x="204044" y="975828"/>
                  <a:pt x="63394" y="841015"/>
                  <a:pt x="18479" y="666824"/>
                </a:cubicBezTo>
                <a:cubicBezTo>
                  <a:pt x="-48000" y="406221"/>
                  <a:pt x="83859" y="220409"/>
                  <a:pt x="115726" y="181168"/>
                </a:cubicBezTo>
                <a:cubicBezTo>
                  <a:pt x="193605" y="88603"/>
                  <a:pt x="315300" y="22427"/>
                  <a:pt x="433974" y="6840"/>
                </a:cubicBezTo>
                <a:cubicBezTo>
                  <a:pt x="471918" y="1405"/>
                  <a:pt x="507416" y="-440"/>
                  <a:pt x="540039" y="87"/>
                </a:cubicBezTo>
                <a:close/>
              </a:path>
            </a:pathLst>
          </a:custGeom>
          <a:solidFill>
            <a:schemeClr val="bg2"/>
          </a:solidFill>
          <a:ln w="127">
            <a:solidFill>
              <a:schemeClr val="bg1"/>
            </a:solidFill>
          </a:ln>
        </p:spPr>
        <p:txBody>
          <a:bodyPr wrap="square"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192439674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pour une image  5">
            <a:extLst>
              <a:ext uri="{FF2B5EF4-FFF2-40B4-BE49-F238E27FC236}">
                <a16:creationId xmlns:a16="http://schemas.microsoft.com/office/drawing/2014/main" id="{9B1EFA10-4759-4B52-2284-A77D4998972D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838200" y="1226344"/>
            <a:ext cx="5258158" cy="4333209"/>
          </a:xfrm>
          <a:prstGeom prst="rect">
            <a:avLst/>
          </a:prstGeom>
        </p:spPr>
        <p:txBody>
          <a:bodyPr lIns="180000" tIns="180000" rIns="0" bIns="0">
            <a:noAutofit/>
          </a:bodyPr>
          <a:lstStyle>
            <a:lvl1pPr marL="0" indent="0">
              <a:buFontTx/>
              <a:buNone/>
              <a:defRPr sz="1000" b="1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fr-FR"/>
              <a:t>IMAGE</a:t>
            </a:r>
          </a:p>
        </p:txBody>
      </p:sp>
      <p:sp>
        <p:nvSpPr>
          <p:cNvPr id="7" name="Titre 8">
            <a:extLst>
              <a:ext uri="{FF2B5EF4-FFF2-40B4-BE49-F238E27FC236}">
                <a16:creationId xmlns:a16="http://schemas.microsoft.com/office/drawing/2014/main" id="{B4AB5FE1-D1F3-65F3-8A25-2D450EA97F7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035" y="360000"/>
            <a:ext cx="11427931" cy="276999"/>
          </a:xfrm>
        </p:spPr>
        <p:txBody>
          <a:bodyPr/>
          <a:lstStyle/>
          <a:p>
            <a:r>
              <a:rPr lang="fr-FR"/>
              <a:t>TITRE DE LA SLIDE</a:t>
            </a:r>
          </a:p>
        </p:txBody>
      </p:sp>
      <p:sp>
        <p:nvSpPr>
          <p:cNvPr id="11" name="Espace réservé de la date 10">
            <a:extLst>
              <a:ext uri="{FF2B5EF4-FFF2-40B4-BE49-F238E27FC236}">
                <a16:creationId xmlns:a16="http://schemas.microsoft.com/office/drawing/2014/main" id="{1FD0433D-EFDB-BD5C-DBEF-EDB9CBD9A410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DF342B73-D2B7-D248-96C4-EBEEB6DE26CD}" type="datetimeFigureOut">
              <a:rPr lang="fr-FR" smtClean="0"/>
              <a:pPr/>
              <a:t>04/03/2026</a:t>
            </a:fld>
            <a:endParaRPr lang="fr-FR"/>
          </a:p>
        </p:txBody>
      </p:sp>
      <p:sp>
        <p:nvSpPr>
          <p:cNvPr id="12" name="Espace réservé du pied de page 11">
            <a:extLst>
              <a:ext uri="{FF2B5EF4-FFF2-40B4-BE49-F238E27FC236}">
                <a16:creationId xmlns:a16="http://schemas.microsoft.com/office/drawing/2014/main" id="{734ADE02-DFED-AF07-4B79-16938C173BAF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fr-FR"/>
              <a:t>-   confidentiel   -</a:t>
            </a:r>
          </a:p>
        </p:txBody>
      </p:sp>
      <p:sp>
        <p:nvSpPr>
          <p:cNvPr id="13" name="Espace réservé du numéro de diapositive 12">
            <a:extLst>
              <a:ext uri="{FF2B5EF4-FFF2-40B4-BE49-F238E27FC236}">
                <a16:creationId xmlns:a16="http://schemas.microsoft.com/office/drawing/2014/main" id="{C43B08A3-BA53-420A-9DAB-292D6E360EFA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EAA21038-A716-1548-A84E-A957E2BC7F1C}" type="slidenum">
              <a:rPr lang="fr-FR" smtClean="0"/>
              <a:pPr/>
              <a:t>‹#›</a:t>
            </a:fld>
            <a:endParaRPr lang="fr-FR"/>
          </a:p>
        </p:txBody>
      </p:sp>
      <p:sp>
        <p:nvSpPr>
          <p:cNvPr id="15" name="Espace réservé du texte 17">
            <a:extLst>
              <a:ext uri="{FF2B5EF4-FFF2-40B4-BE49-F238E27FC236}">
                <a16:creationId xmlns:a16="http://schemas.microsoft.com/office/drawing/2014/main" id="{62E7A804-28E0-1DF5-E285-F9B373488EA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518932" y="1226344"/>
            <a:ext cx="4834868" cy="4333135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sz="1400" b="0">
                <a:solidFill>
                  <a:schemeClr val="bg1"/>
                </a:solidFill>
              </a:defRPr>
            </a:lvl1pPr>
          </a:lstStyle>
          <a:p>
            <a:pPr lvl="6"/>
            <a:r>
              <a:rPr lang="fr-FR"/>
              <a:t>Écrire le texte ici.</a:t>
            </a:r>
          </a:p>
          <a:p>
            <a:pPr lvl="0"/>
            <a:r>
              <a:rPr lang="fr-FR"/>
              <a:t>Faire en sorte que le nombre de caractères ne dépasse pas la hauteur de la zone</a:t>
            </a:r>
          </a:p>
        </p:txBody>
      </p:sp>
    </p:spTree>
    <p:extLst>
      <p:ext uri="{BB962C8B-B14F-4D97-AF65-F5344CB8AC3E}">
        <p14:creationId xmlns:p14="http://schemas.microsoft.com/office/powerpoint/2010/main" val="153162263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blocs 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re 8">
            <a:extLst>
              <a:ext uri="{FF2B5EF4-FFF2-40B4-BE49-F238E27FC236}">
                <a16:creationId xmlns:a16="http://schemas.microsoft.com/office/drawing/2014/main" id="{D96B9B2A-CEC5-E1AF-5631-7C87D4B911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035" y="360000"/>
            <a:ext cx="11427931" cy="276999"/>
          </a:xfrm>
        </p:spPr>
        <p:txBody>
          <a:bodyPr/>
          <a:lstStyle/>
          <a:p>
            <a:r>
              <a:rPr lang="fr-FR"/>
              <a:t>TITRE DE LA SLIDE</a:t>
            </a:r>
          </a:p>
        </p:txBody>
      </p:sp>
      <p:sp>
        <p:nvSpPr>
          <p:cNvPr id="10" name="Espace réservé du texte 17">
            <a:extLst>
              <a:ext uri="{FF2B5EF4-FFF2-40B4-BE49-F238E27FC236}">
                <a16:creationId xmlns:a16="http://schemas.microsoft.com/office/drawing/2014/main" id="{2C53D110-7CB2-2E7E-4427-BB3F80FCC6E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21885" y="1226419"/>
            <a:ext cx="4834868" cy="4224123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sz="1400" b="0">
                <a:solidFill>
                  <a:schemeClr val="bg1"/>
                </a:solidFill>
              </a:defRPr>
            </a:lvl1pPr>
          </a:lstStyle>
          <a:p>
            <a:pPr lvl="6"/>
            <a:r>
              <a:rPr lang="fr-FR"/>
              <a:t>Écrire le texte ici.</a:t>
            </a:r>
          </a:p>
          <a:p>
            <a:pPr lvl="0"/>
            <a:r>
              <a:rPr lang="fr-FR"/>
              <a:t>Faire en sorte que le nombre de caractères ne dépasse pas la hauteur de la zone</a:t>
            </a:r>
          </a:p>
        </p:txBody>
      </p:sp>
      <p:sp>
        <p:nvSpPr>
          <p:cNvPr id="12" name="Espace réservé du texte 17">
            <a:extLst>
              <a:ext uri="{FF2B5EF4-FFF2-40B4-BE49-F238E27FC236}">
                <a16:creationId xmlns:a16="http://schemas.microsoft.com/office/drawing/2014/main" id="{69C8AFA9-5D92-8CEE-5796-F93830231B2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735246" y="1226419"/>
            <a:ext cx="4834868" cy="4224123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sz="1400" b="0">
                <a:solidFill>
                  <a:schemeClr val="bg1"/>
                </a:solidFill>
              </a:defRPr>
            </a:lvl1pPr>
          </a:lstStyle>
          <a:p>
            <a:pPr lvl="6"/>
            <a:r>
              <a:rPr lang="fr-FR"/>
              <a:t>Écrire le texte ici.</a:t>
            </a:r>
          </a:p>
          <a:p>
            <a:pPr lvl="0"/>
            <a:r>
              <a:rPr lang="fr-FR"/>
              <a:t>Faire en sorte que le nombre de caractères ne dépasse pas la hauteur de la zone</a:t>
            </a:r>
          </a:p>
        </p:txBody>
      </p:sp>
      <p:sp>
        <p:nvSpPr>
          <p:cNvPr id="13" name="Espace réservé de la date 12">
            <a:extLst>
              <a:ext uri="{FF2B5EF4-FFF2-40B4-BE49-F238E27FC236}">
                <a16:creationId xmlns:a16="http://schemas.microsoft.com/office/drawing/2014/main" id="{5B9C05DE-4D5C-9314-B49E-51674AFF1471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fld id="{DF342B73-D2B7-D248-96C4-EBEEB6DE26CD}" type="datetimeFigureOut">
              <a:rPr lang="fr-FR" smtClean="0"/>
              <a:pPr/>
              <a:t>04/03/2026</a:t>
            </a:fld>
            <a:endParaRPr lang="fr-FR"/>
          </a:p>
        </p:txBody>
      </p:sp>
      <p:sp>
        <p:nvSpPr>
          <p:cNvPr id="14" name="Espace réservé du pied de page 13">
            <a:extLst>
              <a:ext uri="{FF2B5EF4-FFF2-40B4-BE49-F238E27FC236}">
                <a16:creationId xmlns:a16="http://schemas.microsoft.com/office/drawing/2014/main" id="{5AB1EF83-7A5D-82D2-13AC-7CBC3D77A85B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fr-FR"/>
              <a:t>-   confidentiel   -</a:t>
            </a:r>
          </a:p>
        </p:txBody>
      </p:sp>
      <p:sp>
        <p:nvSpPr>
          <p:cNvPr id="16" name="Espace réservé du numéro de diapositive 15">
            <a:extLst>
              <a:ext uri="{FF2B5EF4-FFF2-40B4-BE49-F238E27FC236}">
                <a16:creationId xmlns:a16="http://schemas.microsoft.com/office/drawing/2014/main" id="{ED4F1B7F-6F2D-2DE9-3FFA-6FF44CD1B79C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EAA21038-A716-1548-A84E-A957E2BC7F1C}" type="slidenum">
              <a:rPr lang="fr-FR" smtClean="0"/>
              <a:pPr/>
              <a:t>‹#›</a:t>
            </a:fld>
            <a:endParaRPr lang="fr-FR"/>
          </a:p>
        </p:txBody>
      </p:sp>
      <p:sp>
        <p:nvSpPr>
          <p:cNvPr id="3" name="Espace réservé du texte 14">
            <a:extLst>
              <a:ext uri="{FF2B5EF4-FFF2-40B4-BE49-F238E27FC236}">
                <a16:creationId xmlns:a16="http://schemas.microsoft.com/office/drawing/2014/main" id="{6010B6E1-714D-F0CE-6C63-A31A05F57C27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6102470" y="1226419"/>
            <a:ext cx="699230" cy="107722"/>
          </a:xfrm>
          <a:gradFill>
            <a:gsLst>
              <a:gs pos="0">
                <a:schemeClr val="bg1"/>
              </a:gs>
              <a:gs pos="100000">
                <a:schemeClr val="bg2">
                  <a:alpha val="0"/>
                </a:schemeClr>
              </a:gs>
            </a:gsLst>
            <a:lin ang="5400000" scaled="1"/>
          </a:gra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191720841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blocs 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8">
            <a:extLst>
              <a:ext uri="{FF2B5EF4-FFF2-40B4-BE49-F238E27FC236}">
                <a16:creationId xmlns:a16="http://schemas.microsoft.com/office/drawing/2014/main" id="{BE0AE079-780C-E911-1DDA-1577D5152F3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035" y="360000"/>
            <a:ext cx="11427931" cy="276999"/>
          </a:xfrm>
        </p:spPr>
        <p:txBody>
          <a:bodyPr/>
          <a:lstStyle/>
          <a:p>
            <a:r>
              <a:rPr lang="fr-FR"/>
              <a:t>TITRE DE LA SLIDE</a:t>
            </a:r>
          </a:p>
        </p:txBody>
      </p:sp>
      <p:sp>
        <p:nvSpPr>
          <p:cNvPr id="6" name="Espace réservé de la date 5">
            <a:extLst>
              <a:ext uri="{FF2B5EF4-FFF2-40B4-BE49-F238E27FC236}">
                <a16:creationId xmlns:a16="http://schemas.microsoft.com/office/drawing/2014/main" id="{382A339C-65A9-1FFE-208B-2E388C42CA6D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DF342B73-D2B7-D248-96C4-EBEEB6DE26CD}" type="datetimeFigureOut">
              <a:rPr lang="fr-FR" smtClean="0"/>
              <a:pPr/>
              <a:t>04/03/2026</a:t>
            </a:fld>
            <a:endParaRPr lang="fr-FR"/>
          </a:p>
        </p:txBody>
      </p:sp>
      <p:sp>
        <p:nvSpPr>
          <p:cNvPr id="13" name="Espace réservé du pied de page 12">
            <a:extLst>
              <a:ext uri="{FF2B5EF4-FFF2-40B4-BE49-F238E27FC236}">
                <a16:creationId xmlns:a16="http://schemas.microsoft.com/office/drawing/2014/main" id="{AAEF04C2-51CD-DB8A-2B72-A51B2595C5EE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fr-FR"/>
              <a:t>-   confidentiel   -</a:t>
            </a:r>
          </a:p>
        </p:txBody>
      </p:sp>
      <p:sp>
        <p:nvSpPr>
          <p:cNvPr id="14" name="Espace réservé du numéro de diapositive 13">
            <a:extLst>
              <a:ext uri="{FF2B5EF4-FFF2-40B4-BE49-F238E27FC236}">
                <a16:creationId xmlns:a16="http://schemas.microsoft.com/office/drawing/2014/main" id="{DAA4A1DF-89F7-1ACD-A789-9FEC7B31E2EF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EAA21038-A716-1548-A84E-A957E2BC7F1C}" type="slidenum">
              <a:rPr lang="fr-FR" smtClean="0"/>
              <a:pPr/>
              <a:t>‹#›</a:t>
            </a:fld>
            <a:endParaRPr lang="fr-FR"/>
          </a:p>
        </p:txBody>
      </p:sp>
      <p:sp>
        <p:nvSpPr>
          <p:cNvPr id="16" name="Espace réservé du texte 17">
            <a:extLst>
              <a:ext uri="{FF2B5EF4-FFF2-40B4-BE49-F238E27FC236}">
                <a16:creationId xmlns:a16="http://schemas.microsoft.com/office/drawing/2014/main" id="{087B49BF-7BA2-66E6-C1BB-350A3FE19A60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59825" y="1226419"/>
            <a:ext cx="3378000" cy="3928288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sz="1400" b="0">
                <a:solidFill>
                  <a:schemeClr val="bg1"/>
                </a:solidFill>
              </a:defRPr>
            </a:lvl1pPr>
          </a:lstStyle>
          <a:p>
            <a:pPr lvl="6"/>
            <a:r>
              <a:rPr lang="fr-FR"/>
              <a:t>Écrire le texte ici.</a:t>
            </a:r>
          </a:p>
          <a:p>
            <a:pPr lvl="0"/>
            <a:r>
              <a:rPr lang="fr-FR"/>
              <a:t>Faire en sorte que le nombre de caractères ne dépasse pas la hauteur de la zone</a:t>
            </a:r>
          </a:p>
        </p:txBody>
      </p:sp>
      <p:sp>
        <p:nvSpPr>
          <p:cNvPr id="17" name="Espace réservé du texte 17">
            <a:extLst>
              <a:ext uri="{FF2B5EF4-FFF2-40B4-BE49-F238E27FC236}">
                <a16:creationId xmlns:a16="http://schemas.microsoft.com/office/drawing/2014/main" id="{31602A12-29EA-B808-22F2-A1BBEFC7611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407688" y="1226419"/>
            <a:ext cx="3378000" cy="3928288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sz="1400" b="0">
                <a:solidFill>
                  <a:schemeClr val="bg1"/>
                </a:solidFill>
              </a:defRPr>
            </a:lvl1pPr>
          </a:lstStyle>
          <a:p>
            <a:pPr lvl="6"/>
            <a:r>
              <a:rPr lang="fr-FR"/>
              <a:t>Écrire le texte ici.</a:t>
            </a:r>
          </a:p>
          <a:p>
            <a:pPr lvl="0"/>
            <a:r>
              <a:rPr lang="fr-FR"/>
              <a:t>Faire en sorte que le nombre de caractères ne dépasse pas la hauteur de la zone</a:t>
            </a:r>
          </a:p>
        </p:txBody>
      </p:sp>
      <p:sp>
        <p:nvSpPr>
          <p:cNvPr id="18" name="Espace réservé du texte 17">
            <a:extLst>
              <a:ext uri="{FF2B5EF4-FFF2-40B4-BE49-F238E27FC236}">
                <a16:creationId xmlns:a16="http://schemas.microsoft.com/office/drawing/2014/main" id="{AE347ECD-91E0-9E2F-C86B-18C68AD8065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255551" y="1226419"/>
            <a:ext cx="3378000" cy="3928288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sz="1400" b="0">
                <a:solidFill>
                  <a:schemeClr val="bg1"/>
                </a:solidFill>
              </a:defRPr>
            </a:lvl1pPr>
          </a:lstStyle>
          <a:p>
            <a:pPr lvl="6"/>
            <a:r>
              <a:rPr lang="fr-FR"/>
              <a:t>Écrire le texte ici.</a:t>
            </a:r>
          </a:p>
          <a:p>
            <a:pPr lvl="0"/>
            <a:r>
              <a:rPr lang="fr-FR"/>
              <a:t>Faire en sorte que le nombre de caractères ne dépasse pas la hauteur de la zone</a:t>
            </a:r>
          </a:p>
        </p:txBody>
      </p:sp>
      <p:sp>
        <p:nvSpPr>
          <p:cNvPr id="2" name="Espace réservé du texte 14">
            <a:extLst>
              <a:ext uri="{FF2B5EF4-FFF2-40B4-BE49-F238E27FC236}">
                <a16:creationId xmlns:a16="http://schemas.microsoft.com/office/drawing/2014/main" id="{D0DE375B-F2BA-2455-DBD9-1ED536FAE3BF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4171724" y="1226419"/>
            <a:ext cx="699230" cy="107722"/>
          </a:xfrm>
          <a:gradFill>
            <a:gsLst>
              <a:gs pos="0">
                <a:schemeClr val="bg1"/>
              </a:gs>
              <a:gs pos="100000">
                <a:schemeClr val="bg2">
                  <a:alpha val="0"/>
                </a:schemeClr>
              </a:gs>
            </a:gsLst>
            <a:lin ang="5400000" scaled="1"/>
          </a:gra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" name="Espace réservé du texte 14">
            <a:extLst>
              <a:ext uri="{FF2B5EF4-FFF2-40B4-BE49-F238E27FC236}">
                <a16:creationId xmlns:a16="http://schemas.microsoft.com/office/drawing/2014/main" id="{12527CEB-1409-061B-BBB5-388F7CE67C11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8012299" y="1226419"/>
            <a:ext cx="699230" cy="107722"/>
          </a:xfrm>
          <a:gradFill>
            <a:gsLst>
              <a:gs pos="0">
                <a:schemeClr val="bg1"/>
              </a:gs>
              <a:gs pos="100000">
                <a:schemeClr val="bg2">
                  <a:alpha val="0"/>
                </a:schemeClr>
              </a:gs>
            </a:gsLst>
            <a:lin ang="5400000" scaled="1"/>
          </a:gra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258874694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blocs 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8">
            <a:extLst>
              <a:ext uri="{FF2B5EF4-FFF2-40B4-BE49-F238E27FC236}">
                <a16:creationId xmlns:a16="http://schemas.microsoft.com/office/drawing/2014/main" id="{8ECD5879-B68C-7B64-9989-7979CFCE8CB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035" y="360000"/>
            <a:ext cx="11427931" cy="276999"/>
          </a:xfrm>
        </p:spPr>
        <p:txBody>
          <a:bodyPr/>
          <a:lstStyle/>
          <a:p>
            <a:r>
              <a:rPr lang="fr-FR"/>
              <a:t>TITRE DE LA SLIDE</a:t>
            </a:r>
          </a:p>
        </p:txBody>
      </p:sp>
      <p:sp>
        <p:nvSpPr>
          <p:cNvPr id="9" name="Espace réservé du texte 17">
            <a:extLst>
              <a:ext uri="{FF2B5EF4-FFF2-40B4-BE49-F238E27FC236}">
                <a16:creationId xmlns:a16="http://schemas.microsoft.com/office/drawing/2014/main" id="{343988DC-B61B-BD4C-E99E-DB54CA97B54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21885" y="1226419"/>
            <a:ext cx="4841960" cy="1817827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sz="1400" b="0">
                <a:solidFill>
                  <a:schemeClr val="bg1"/>
                </a:solidFill>
              </a:defRPr>
            </a:lvl1pPr>
          </a:lstStyle>
          <a:p>
            <a:pPr lvl="4"/>
            <a:r>
              <a:rPr lang="fr-FR"/>
              <a:t>Écrire le texte ici.</a:t>
            </a:r>
          </a:p>
          <a:p>
            <a:pPr lvl="0"/>
            <a:r>
              <a:rPr lang="fr-FR"/>
              <a:t>Faire en sorte que le nombre de caractères ne dépasse pas la hauteur de la zone</a:t>
            </a:r>
          </a:p>
        </p:txBody>
      </p:sp>
      <p:sp>
        <p:nvSpPr>
          <p:cNvPr id="13" name="Espace réservé du texte 17">
            <a:extLst>
              <a:ext uri="{FF2B5EF4-FFF2-40B4-BE49-F238E27FC236}">
                <a16:creationId xmlns:a16="http://schemas.microsoft.com/office/drawing/2014/main" id="{7F0C6997-0B29-BF08-852C-2A632C799DC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735247" y="1226419"/>
            <a:ext cx="4841960" cy="1817827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sz="1400" b="0">
                <a:solidFill>
                  <a:schemeClr val="bg1"/>
                </a:solidFill>
              </a:defRPr>
            </a:lvl1pPr>
          </a:lstStyle>
          <a:p>
            <a:pPr lvl="4"/>
            <a:r>
              <a:rPr lang="fr-FR"/>
              <a:t>Écrire le texte ici.</a:t>
            </a:r>
          </a:p>
          <a:p>
            <a:pPr lvl="0"/>
            <a:r>
              <a:rPr lang="fr-FR"/>
              <a:t>Faire en sorte que le nombre de caractères ne dépasse pas la hauteur de la zone</a:t>
            </a:r>
          </a:p>
        </p:txBody>
      </p:sp>
      <p:sp>
        <p:nvSpPr>
          <p:cNvPr id="17" name="Espace réservé du texte 17">
            <a:extLst>
              <a:ext uri="{FF2B5EF4-FFF2-40B4-BE49-F238E27FC236}">
                <a16:creationId xmlns:a16="http://schemas.microsoft.com/office/drawing/2014/main" id="{151C0498-60E9-EA4C-82E4-A3E824FA0B23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21885" y="3368983"/>
            <a:ext cx="4841960" cy="1817827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sz="1400" b="0">
                <a:solidFill>
                  <a:schemeClr val="bg1"/>
                </a:solidFill>
              </a:defRPr>
            </a:lvl1pPr>
          </a:lstStyle>
          <a:p>
            <a:pPr lvl="4"/>
            <a:r>
              <a:rPr lang="fr-FR"/>
              <a:t>Écrire le texte ici.</a:t>
            </a:r>
          </a:p>
          <a:p>
            <a:pPr lvl="0"/>
            <a:r>
              <a:rPr lang="fr-FR"/>
              <a:t>Faire en sorte que le nombre de caractères ne dépasse pas la hauteur de la zone</a:t>
            </a:r>
          </a:p>
        </p:txBody>
      </p:sp>
      <p:sp>
        <p:nvSpPr>
          <p:cNvPr id="18" name="Espace réservé du texte 17">
            <a:extLst>
              <a:ext uri="{FF2B5EF4-FFF2-40B4-BE49-F238E27FC236}">
                <a16:creationId xmlns:a16="http://schemas.microsoft.com/office/drawing/2014/main" id="{DB6A2DEA-8E51-1158-9332-8F349787979B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735247" y="3368983"/>
            <a:ext cx="4841960" cy="1817827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sz="1400" b="0">
                <a:solidFill>
                  <a:schemeClr val="bg1"/>
                </a:solidFill>
              </a:defRPr>
            </a:lvl1pPr>
          </a:lstStyle>
          <a:p>
            <a:pPr lvl="4"/>
            <a:r>
              <a:rPr lang="fr-FR"/>
              <a:t>Écrire le texte ici.</a:t>
            </a:r>
          </a:p>
          <a:p>
            <a:pPr lvl="0"/>
            <a:r>
              <a:rPr lang="fr-FR"/>
              <a:t>Faire en sorte que le nombre de caractères ne dépasse pas la hauteur de la zone</a:t>
            </a:r>
          </a:p>
        </p:txBody>
      </p:sp>
      <p:sp>
        <p:nvSpPr>
          <p:cNvPr id="19" name="Espace réservé de la date 18">
            <a:extLst>
              <a:ext uri="{FF2B5EF4-FFF2-40B4-BE49-F238E27FC236}">
                <a16:creationId xmlns:a16="http://schemas.microsoft.com/office/drawing/2014/main" id="{23AE464C-6BA8-ABDE-3C73-1A4407ABA035}"/>
              </a:ext>
            </a:extLst>
          </p:cNvPr>
          <p:cNvSpPr>
            <a:spLocks noGrp="1"/>
          </p:cNvSpPr>
          <p:nvPr>
            <p:ph type="dt" sz="half" idx="26"/>
          </p:nvPr>
        </p:nvSpPr>
        <p:spPr/>
        <p:txBody>
          <a:bodyPr/>
          <a:lstStyle/>
          <a:p>
            <a:fld id="{DF342B73-D2B7-D248-96C4-EBEEB6DE26CD}" type="datetimeFigureOut">
              <a:rPr lang="fr-FR" smtClean="0"/>
              <a:pPr/>
              <a:t>04/03/2026</a:t>
            </a:fld>
            <a:endParaRPr lang="fr-FR"/>
          </a:p>
        </p:txBody>
      </p:sp>
      <p:sp>
        <p:nvSpPr>
          <p:cNvPr id="20" name="Espace réservé du pied de page 19">
            <a:extLst>
              <a:ext uri="{FF2B5EF4-FFF2-40B4-BE49-F238E27FC236}">
                <a16:creationId xmlns:a16="http://schemas.microsoft.com/office/drawing/2014/main" id="{0112CB38-B1CC-1771-BE28-34DD1223A7F6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/>
        <p:txBody>
          <a:bodyPr/>
          <a:lstStyle/>
          <a:p>
            <a:r>
              <a:rPr lang="fr-FR"/>
              <a:t>-   confidentiel   -</a:t>
            </a:r>
          </a:p>
        </p:txBody>
      </p:sp>
      <p:sp>
        <p:nvSpPr>
          <p:cNvPr id="21" name="Espace réservé du numéro de diapositive 20">
            <a:extLst>
              <a:ext uri="{FF2B5EF4-FFF2-40B4-BE49-F238E27FC236}">
                <a16:creationId xmlns:a16="http://schemas.microsoft.com/office/drawing/2014/main" id="{EF624334-CA02-87D2-2EA2-867699FDAB37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EAA21038-A716-1548-A84E-A957E2BC7F1C}" type="slidenum">
              <a:rPr lang="fr-FR" smtClean="0"/>
              <a:pPr/>
              <a:t>‹#›</a:t>
            </a:fld>
            <a:endParaRPr lang="fr-FR"/>
          </a:p>
        </p:txBody>
      </p:sp>
      <p:sp>
        <p:nvSpPr>
          <p:cNvPr id="2" name="Espace réservé du texte 14">
            <a:extLst>
              <a:ext uri="{FF2B5EF4-FFF2-40B4-BE49-F238E27FC236}">
                <a16:creationId xmlns:a16="http://schemas.microsoft.com/office/drawing/2014/main" id="{808D5694-C634-210F-7029-7F23C44FB136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6102470" y="1226419"/>
            <a:ext cx="699230" cy="107722"/>
          </a:xfrm>
          <a:gradFill>
            <a:gsLst>
              <a:gs pos="0">
                <a:schemeClr val="bg1">
                  <a:alpha val="0"/>
                </a:schemeClr>
              </a:gs>
              <a:gs pos="50000">
                <a:schemeClr val="bg1"/>
              </a:gs>
              <a:gs pos="100000">
                <a:schemeClr val="bg2">
                  <a:alpha val="0"/>
                </a:schemeClr>
              </a:gs>
            </a:gsLst>
            <a:lin ang="5400000" scaled="1"/>
          </a:gra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93606698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xt + image + graphi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pour une image  5">
            <a:extLst>
              <a:ext uri="{FF2B5EF4-FFF2-40B4-BE49-F238E27FC236}">
                <a16:creationId xmlns:a16="http://schemas.microsoft.com/office/drawing/2014/main" id="{9B1EFA10-4759-4B52-2284-A77D4998972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20282" y="2708031"/>
            <a:ext cx="5235542" cy="2851522"/>
          </a:xfrm>
          <a:prstGeom prst="rect">
            <a:avLst/>
          </a:prstGeom>
        </p:spPr>
        <p:txBody>
          <a:bodyPr vert="horz" lIns="180000" tIns="180000" rIns="0" bIns="0" rtlCol="0">
            <a:noAutofit/>
          </a:bodyPr>
          <a:lstStyle>
            <a:lvl1pPr>
              <a:defRPr lang="fr-FR" sz="1000" b="1" cap="all" dirty="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pPr lvl="0" indent="0">
              <a:buNone/>
            </a:pPr>
            <a:r>
              <a:rPr lang="fr-FR"/>
              <a:t>Cliquez sur l'icône pour ajouter une image</a:t>
            </a:r>
          </a:p>
        </p:txBody>
      </p:sp>
      <p:sp>
        <p:nvSpPr>
          <p:cNvPr id="7" name="Espace réservé du graphique 6">
            <a:extLst>
              <a:ext uri="{FF2B5EF4-FFF2-40B4-BE49-F238E27FC236}">
                <a16:creationId xmlns:a16="http://schemas.microsoft.com/office/drawing/2014/main" id="{C70D2C19-C8C3-3275-C400-E73B9D768F58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5278439" y="2708275"/>
            <a:ext cx="6737683" cy="2851278"/>
          </a:xfrm>
          <a:prstGeom prst="rect">
            <a:avLst/>
          </a:prstGeom>
        </p:spPr>
        <p:txBody>
          <a:bodyPr vert="horz" lIns="180000" tIns="180000" rIns="0" bIns="0" rtlCol="0">
            <a:noAutofit/>
          </a:bodyPr>
          <a:lstStyle>
            <a:lvl1pPr>
              <a:defRPr lang="fr-FR" sz="1000" b="1" cap="all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pPr lvl="0" indent="0">
              <a:buNone/>
            </a:pPr>
            <a:r>
              <a:rPr lang="fr-FR"/>
              <a:t>Cliquez sur l'icône pour ajouter un graphique</a:t>
            </a:r>
          </a:p>
        </p:txBody>
      </p:sp>
      <p:sp>
        <p:nvSpPr>
          <p:cNvPr id="3" name="Titre 8">
            <a:extLst>
              <a:ext uri="{FF2B5EF4-FFF2-40B4-BE49-F238E27FC236}">
                <a16:creationId xmlns:a16="http://schemas.microsoft.com/office/drawing/2014/main" id="{69337317-EBD3-ADB7-9891-8132DAE6FA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035" y="360000"/>
            <a:ext cx="11427931" cy="276999"/>
          </a:xfrm>
        </p:spPr>
        <p:txBody>
          <a:bodyPr/>
          <a:lstStyle/>
          <a:p>
            <a:r>
              <a:rPr lang="fr-FR"/>
              <a:t>TITRE DE LA SLIDE</a:t>
            </a:r>
          </a:p>
        </p:txBody>
      </p:sp>
      <p:sp>
        <p:nvSpPr>
          <p:cNvPr id="13" name="Espace réservé du texte 17">
            <a:extLst>
              <a:ext uri="{FF2B5EF4-FFF2-40B4-BE49-F238E27FC236}">
                <a16:creationId xmlns:a16="http://schemas.microsoft.com/office/drawing/2014/main" id="{F903082C-49F0-ED95-7BAF-6C845ECE269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37842" y="930460"/>
            <a:ext cx="10515600" cy="1481613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sz="1400" b="0">
                <a:solidFill>
                  <a:schemeClr val="bg1"/>
                </a:solidFill>
              </a:defRPr>
            </a:lvl1pPr>
          </a:lstStyle>
          <a:p>
            <a:pPr lvl="4"/>
            <a:r>
              <a:rPr lang="fr-FR"/>
              <a:t>Écrire le texte ici.</a:t>
            </a:r>
          </a:p>
          <a:p>
            <a:pPr lvl="0"/>
            <a:r>
              <a:rPr lang="fr-FR"/>
              <a:t>Faire en sorte que le nombre de caractères ne dépasse pas la hauteur de la zone</a:t>
            </a:r>
          </a:p>
        </p:txBody>
      </p:sp>
      <p:sp>
        <p:nvSpPr>
          <p:cNvPr id="14" name="Espace réservé de la date 13">
            <a:extLst>
              <a:ext uri="{FF2B5EF4-FFF2-40B4-BE49-F238E27FC236}">
                <a16:creationId xmlns:a16="http://schemas.microsoft.com/office/drawing/2014/main" id="{A95AACBD-592B-88A6-BA1A-EFE591605939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fld id="{DF342B73-D2B7-D248-96C4-EBEEB6DE26CD}" type="datetimeFigureOut">
              <a:rPr lang="fr-FR" smtClean="0"/>
              <a:pPr/>
              <a:t>04/03/2026</a:t>
            </a:fld>
            <a:endParaRPr lang="fr-FR"/>
          </a:p>
        </p:txBody>
      </p:sp>
      <p:sp>
        <p:nvSpPr>
          <p:cNvPr id="15" name="Espace réservé du pied de page 14">
            <a:extLst>
              <a:ext uri="{FF2B5EF4-FFF2-40B4-BE49-F238E27FC236}">
                <a16:creationId xmlns:a16="http://schemas.microsoft.com/office/drawing/2014/main" id="{78599205-AD62-B881-F5D4-BD916D3FF9A6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fr-FR"/>
              <a:t>-   confidentiel   -</a:t>
            </a:r>
          </a:p>
        </p:txBody>
      </p:sp>
      <p:sp>
        <p:nvSpPr>
          <p:cNvPr id="16" name="Espace réservé du numéro de diapositive 15">
            <a:extLst>
              <a:ext uri="{FF2B5EF4-FFF2-40B4-BE49-F238E27FC236}">
                <a16:creationId xmlns:a16="http://schemas.microsoft.com/office/drawing/2014/main" id="{289743EE-57AD-A1DF-C665-1B8344DFBB84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EAA21038-A716-1548-A84E-A957E2BC7F1C}" type="slidenum">
              <a:rPr lang="fr-FR" smtClean="0"/>
              <a:pPr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76927134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i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graphique 6">
            <a:extLst>
              <a:ext uri="{FF2B5EF4-FFF2-40B4-BE49-F238E27FC236}">
                <a16:creationId xmlns:a16="http://schemas.microsoft.com/office/drawing/2014/main" id="{C70D2C19-C8C3-3275-C400-E73B9D768F58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210666" y="1019908"/>
            <a:ext cx="11770668" cy="453964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fr-FR" sz="1000" b="1" cap="all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pPr lvl="0" indent="0">
              <a:buNone/>
            </a:pPr>
            <a:r>
              <a:rPr lang="fr-FR"/>
              <a:t>Cliquez sur l'icône pour ajouter un graphique</a:t>
            </a:r>
          </a:p>
        </p:txBody>
      </p:sp>
      <p:sp>
        <p:nvSpPr>
          <p:cNvPr id="8" name="Titre 8">
            <a:extLst>
              <a:ext uri="{FF2B5EF4-FFF2-40B4-BE49-F238E27FC236}">
                <a16:creationId xmlns:a16="http://schemas.microsoft.com/office/drawing/2014/main" id="{3ACD1BB0-117D-B47E-9303-8278C603BC3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035" y="360000"/>
            <a:ext cx="11427931" cy="276999"/>
          </a:xfrm>
        </p:spPr>
        <p:txBody>
          <a:bodyPr/>
          <a:lstStyle/>
          <a:p>
            <a:r>
              <a:rPr lang="fr-FR"/>
              <a:t>TITRE DE LA SLIDE</a:t>
            </a:r>
          </a:p>
        </p:txBody>
      </p:sp>
      <p:sp>
        <p:nvSpPr>
          <p:cNvPr id="10" name="Espace réservé de la date 9">
            <a:extLst>
              <a:ext uri="{FF2B5EF4-FFF2-40B4-BE49-F238E27FC236}">
                <a16:creationId xmlns:a16="http://schemas.microsoft.com/office/drawing/2014/main" id="{E7EBC9BE-23A5-24E7-02C8-818B81696EF4}"/>
              </a:ext>
            </a:extLst>
          </p:cNvPr>
          <p:cNvSpPr>
            <a:spLocks noGrp="1"/>
          </p:cNvSpPr>
          <p:nvPr>
            <p:ph type="dt" sz="half" idx="21"/>
          </p:nvPr>
        </p:nvSpPr>
        <p:spPr/>
        <p:txBody>
          <a:bodyPr/>
          <a:lstStyle/>
          <a:p>
            <a:fld id="{DF342B73-D2B7-D248-96C4-EBEEB6DE26CD}" type="datetimeFigureOut">
              <a:rPr lang="fr-FR" smtClean="0"/>
              <a:pPr/>
              <a:t>04/03/2026</a:t>
            </a:fld>
            <a:endParaRPr lang="fr-FR"/>
          </a:p>
        </p:txBody>
      </p:sp>
      <p:sp>
        <p:nvSpPr>
          <p:cNvPr id="11" name="Espace réservé du pied de page 10">
            <a:extLst>
              <a:ext uri="{FF2B5EF4-FFF2-40B4-BE49-F238E27FC236}">
                <a16:creationId xmlns:a16="http://schemas.microsoft.com/office/drawing/2014/main" id="{75108BCF-78E7-A914-C3D3-DF424491F048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r>
              <a:rPr lang="fr-FR"/>
              <a:t>-   confidentiel   -</a:t>
            </a:r>
          </a:p>
        </p:txBody>
      </p:sp>
      <p:sp>
        <p:nvSpPr>
          <p:cNvPr id="12" name="Espace réservé du numéro de diapositive 11">
            <a:extLst>
              <a:ext uri="{FF2B5EF4-FFF2-40B4-BE49-F238E27FC236}">
                <a16:creationId xmlns:a16="http://schemas.microsoft.com/office/drawing/2014/main" id="{76AB52F5-7A49-28A7-0F8C-C6B6A9FCA8DA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EAA21038-A716-1548-A84E-A957E2BC7F1C}" type="slidenum">
              <a:rPr lang="fr-FR" smtClean="0"/>
              <a:pPr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58769940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graphiques superposé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graphique 6">
            <a:extLst>
              <a:ext uri="{FF2B5EF4-FFF2-40B4-BE49-F238E27FC236}">
                <a16:creationId xmlns:a16="http://schemas.microsoft.com/office/drawing/2014/main" id="{DEA3DEA8-D778-F405-5ED2-3CCC0B642A30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210666" y="974036"/>
            <a:ext cx="11770668" cy="2385391"/>
          </a:xfrm>
          <a:prstGeom prst="rect">
            <a:avLst/>
          </a:prstGeom>
        </p:spPr>
        <p:txBody>
          <a:bodyPr vert="horz" lIns="180000" tIns="180000" rIns="0" bIns="0" rtlCol="0">
            <a:noAutofit/>
          </a:bodyPr>
          <a:lstStyle>
            <a:lvl1pPr>
              <a:defRPr lang="fr-FR" sz="1000" b="1" cap="all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pPr lvl="0" indent="0">
              <a:buNone/>
            </a:pPr>
            <a:r>
              <a:rPr lang="fr-FR"/>
              <a:t>Cliquez sur l'icône pour ajouter un graphique</a:t>
            </a:r>
          </a:p>
        </p:txBody>
      </p:sp>
      <p:sp>
        <p:nvSpPr>
          <p:cNvPr id="6" name="Espace réservé du graphique 6">
            <a:extLst>
              <a:ext uri="{FF2B5EF4-FFF2-40B4-BE49-F238E27FC236}">
                <a16:creationId xmlns:a16="http://schemas.microsoft.com/office/drawing/2014/main" id="{4BF7842A-C835-1360-AA9F-FB8B0717C34F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210666" y="3498575"/>
            <a:ext cx="11770668" cy="2385391"/>
          </a:xfrm>
          <a:prstGeom prst="rect">
            <a:avLst/>
          </a:prstGeom>
        </p:spPr>
        <p:txBody>
          <a:bodyPr vert="horz" lIns="180000" tIns="180000" rIns="0" bIns="0" rtlCol="0">
            <a:noAutofit/>
          </a:bodyPr>
          <a:lstStyle>
            <a:lvl1pPr>
              <a:defRPr lang="fr-FR" sz="1000" b="1" cap="all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pPr lvl="0" indent="0">
              <a:buNone/>
            </a:pPr>
            <a:r>
              <a:rPr lang="fr-FR"/>
              <a:t>Cliquez sur l'icône pour ajouter un graphique</a:t>
            </a:r>
          </a:p>
        </p:txBody>
      </p:sp>
      <p:sp>
        <p:nvSpPr>
          <p:cNvPr id="7" name="Titre 8">
            <a:extLst>
              <a:ext uri="{FF2B5EF4-FFF2-40B4-BE49-F238E27FC236}">
                <a16:creationId xmlns:a16="http://schemas.microsoft.com/office/drawing/2014/main" id="{9DE5CB87-E46E-6605-0603-4A21F14CC13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035" y="360000"/>
            <a:ext cx="11427931" cy="276999"/>
          </a:xfrm>
        </p:spPr>
        <p:txBody>
          <a:bodyPr/>
          <a:lstStyle/>
          <a:p>
            <a:r>
              <a:rPr lang="fr-FR"/>
              <a:t>TITRE DE LA SLIDE</a:t>
            </a:r>
          </a:p>
        </p:txBody>
      </p:sp>
      <p:sp>
        <p:nvSpPr>
          <p:cNvPr id="9" name="Espace réservé de la date 8">
            <a:extLst>
              <a:ext uri="{FF2B5EF4-FFF2-40B4-BE49-F238E27FC236}">
                <a16:creationId xmlns:a16="http://schemas.microsoft.com/office/drawing/2014/main" id="{7A152173-78B3-C053-A0F6-5A1B4AE68913}"/>
              </a:ext>
            </a:extLst>
          </p:cNvPr>
          <p:cNvSpPr>
            <a:spLocks noGrp="1"/>
          </p:cNvSpPr>
          <p:nvPr>
            <p:ph type="dt" sz="half" idx="21"/>
          </p:nvPr>
        </p:nvSpPr>
        <p:spPr/>
        <p:txBody>
          <a:bodyPr/>
          <a:lstStyle/>
          <a:p>
            <a:fld id="{DF342B73-D2B7-D248-96C4-EBEEB6DE26CD}" type="datetimeFigureOut">
              <a:rPr lang="fr-FR" smtClean="0"/>
              <a:pPr/>
              <a:t>04/03/2026</a:t>
            </a:fld>
            <a:endParaRPr lang="fr-FR"/>
          </a:p>
        </p:txBody>
      </p:sp>
      <p:sp>
        <p:nvSpPr>
          <p:cNvPr id="10" name="Espace réservé du pied de page 9">
            <a:extLst>
              <a:ext uri="{FF2B5EF4-FFF2-40B4-BE49-F238E27FC236}">
                <a16:creationId xmlns:a16="http://schemas.microsoft.com/office/drawing/2014/main" id="{93796424-AA2D-1BD4-BB5B-B60729FCF516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r>
              <a:rPr lang="fr-FR"/>
              <a:t>-   confidentiel   -</a:t>
            </a:r>
          </a:p>
        </p:txBody>
      </p:sp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70546E85-AE94-8042-5989-087DFC5CBE0C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EAA21038-A716-1548-A84E-A957E2BC7F1C}" type="slidenum">
              <a:rPr lang="fr-FR" smtClean="0"/>
              <a:pPr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12302813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ique gauche + 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graphique 3">
            <a:extLst>
              <a:ext uri="{FF2B5EF4-FFF2-40B4-BE49-F238E27FC236}">
                <a16:creationId xmlns:a16="http://schemas.microsoft.com/office/drawing/2014/main" id="{F37EE3E4-B967-9402-1988-690C3B84F815}"/>
              </a:ext>
            </a:extLst>
          </p:cNvPr>
          <p:cNvSpPr>
            <a:spLocks noGrp="1"/>
          </p:cNvSpPr>
          <p:nvPr>
            <p:ph type="chart" sz="quarter" idx="10"/>
          </p:nvPr>
        </p:nvSpPr>
        <p:spPr>
          <a:xfrm>
            <a:off x="837843" y="992188"/>
            <a:ext cx="4684771" cy="5051774"/>
          </a:xfrm>
          <a:prstGeom prst="rect">
            <a:avLst/>
          </a:prstGeom>
        </p:spPr>
        <p:txBody>
          <a:bodyPr vert="horz" lIns="180000" tIns="180000" rIns="0" bIns="0" rtlCol="0">
            <a:noAutofit/>
          </a:bodyPr>
          <a:lstStyle>
            <a:lvl1pPr>
              <a:defRPr lang="fr-FR" sz="1000" b="1" cap="all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pPr lvl="0" indent="0">
              <a:buNone/>
            </a:pPr>
            <a:r>
              <a:rPr lang="fr-FR"/>
              <a:t>Cliquez sur l'icône pour ajouter un graphique</a:t>
            </a:r>
          </a:p>
        </p:txBody>
      </p:sp>
      <p:sp>
        <p:nvSpPr>
          <p:cNvPr id="5" name="Titre 8">
            <a:extLst>
              <a:ext uri="{FF2B5EF4-FFF2-40B4-BE49-F238E27FC236}">
                <a16:creationId xmlns:a16="http://schemas.microsoft.com/office/drawing/2014/main" id="{261E2399-3504-AA78-C676-B1820C7857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035" y="360000"/>
            <a:ext cx="11427931" cy="276999"/>
          </a:xfrm>
        </p:spPr>
        <p:txBody>
          <a:bodyPr/>
          <a:lstStyle/>
          <a:p>
            <a:r>
              <a:rPr lang="fr-FR"/>
              <a:t>TITRE DE LA SLIDE</a:t>
            </a:r>
          </a:p>
        </p:txBody>
      </p:sp>
      <p:sp>
        <p:nvSpPr>
          <p:cNvPr id="9" name="Espace réservé du texte 17">
            <a:extLst>
              <a:ext uri="{FF2B5EF4-FFF2-40B4-BE49-F238E27FC236}">
                <a16:creationId xmlns:a16="http://schemas.microsoft.com/office/drawing/2014/main" id="{34F7006D-5E26-6621-A999-1C1C6470042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913342" y="992188"/>
            <a:ext cx="5440815" cy="5051425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sz="1400" b="0">
                <a:solidFill>
                  <a:schemeClr val="bg1"/>
                </a:solidFill>
              </a:defRPr>
            </a:lvl1pPr>
          </a:lstStyle>
          <a:p>
            <a:pPr lvl="4"/>
            <a:r>
              <a:rPr lang="fr-FR"/>
              <a:t>Écrire le texte ici.</a:t>
            </a:r>
          </a:p>
          <a:p>
            <a:pPr lvl="0"/>
            <a:r>
              <a:rPr lang="fr-FR"/>
              <a:t>Faire en sorte que le nombre de caractères ne dépasse pas la hauteur de la zone</a:t>
            </a:r>
          </a:p>
        </p:txBody>
      </p:sp>
      <p:sp>
        <p:nvSpPr>
          <p:cNvPr id="10" name="Espace réservé de la date 9">
            <a:extLst>
              <a:ext uri="{FF2B5EF4-FFF2-40B4-BE49-F238E27FC236}">
                <a16:creationId xmlns:a16="http://schemas.microsoft.com/office/drawing/2014/main" id="{E96F9579-8D8B-C4E2-20B2-DE80B74310DB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fld id="{DF342B73-D2B7-D248-96C4-EBEEB6DE26CD}" type="datetimeFigureOut">
              <a:rPr lang="fr-FR" smtClean="0"/>
              <a:pPr/>
              <a:t>04/03/2026</a:t>
            </a:fld>
            <a:endParaRPr lang="fr-FR"/>
          </a:p>
        </p:txBody>
      </p:sp>
      <p:sp>
        <p:nvSpPr>
          <p:cNvPr id="11" name="Espace réservé du pied de page 10">
            <a:extLst>
              <a:ext uri="{FF2B5EF4-FFF2-40B4-BE49-F238E27FC236}">
                <a16:creationId xmlns:a16="http://schemas.microsoft.com/office/drawing/2014/main" id="{4B2D3D06-53D7-207C-0F92-5D7CD302E0FD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fr-FR"/>
              <a:t>-   confidentiel   -</a:t>
            </a:r>
          </a:p>
        </p:txBody>
      </p:sp>
      <p:sp>
        <p:nvSpPr>
          <p:cNvPr id="12" name="Espace réservé du numéro de diapositive 11">
            <a:extLst>
              <a:ext uri="{FF2B5EF4-FFF2-40B4-BE49-F238E27FC236}">
                <a16:creationId xmlns:a16="http://schemas.microsoft.com/office/drawing/2014/main" id="{CD5D60A6-4FBE-BA71-49A7-EF91445B0A47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EAA21038-A716-1548-A84E-A957E2BC7F1C}" type="slidenum">
              <a:rPr lang="fr-FR" smtClean="0"/>
              <a:pPr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05193111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ique droite + 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graphique 3">
            <a:extLst>
              <a:ext uri="{FF2B5EF4-FFF2-40B4-BE49-F238E27FC236}">
                <a16:creationId xmlns:a16="http://schemas.microsoft.com/office/drawing/2014/main" id="{F37EE3E4-B967-9402-1988-690C3B84F815}"/>
              </a:ext>
            </a:extLst>
          </p:cNvPr>
          <p:cNvSpPr>
            <a:spLocks noGrp="1"/>
          </p:cNvSpPr>
          <p:nvPr>
            <p:ph type="chart" sz="quarter" idx="10"/>
          </p:nvPr>
        </p:nvSpPr>
        <p:spPr>
          <a:xfrm>
            <a:off x="6669029" y="992188"/>
            <a:ext cx="4684771" cy="5051774"/>
          </a:xfrm>
          <a:prstGeom prst="rect">
            <a:avLst/>
          </a:prstGeom>
        </p:spPr>
        <p:txBody>
          <a:bodyPr vert="horz" lIns="180000" tIns="180000" rIns="0" bIns="0" rtlCol="0">
            <a:noAutofit/>
          </a:bodyPr>
          <a:lstStyle>
            <a:lvl1pPr>
              <a:defRPr lang="fr-FR" sz="1000" b="1" cap="all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pPr lvl="0" indent="0">
              <a:buNone/>
            </a:pPr>
            <a:r>
              <a:rPr lang="fr-FR"/>
              <a:t>Cliquez sur l'icône pour ajouter un graphique</a:t>
            </a:r>
          </a:p>
        </p:txBody>
      </p:sp>
      <p:sp>
        <p:nvSpPr>
          <p:cNvPr id="6" name="Titre 8">
            <a:extLst>
              <a:ext uri="{FF2B5EF4-FFF2-40B4-BE49-F238E27FC236}">
                <a16:creationId xmlns:a16="http://schemas.microsoft.com/office/drawing/2014/main" id="{E3EEEDC0-75DC-CA6E-22C4-C25F089890D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035" y="360000"/>
            <a:ext cx="11427931" cy="276999"/>
          </a:xfrm>
        </p:spPr>
        <p:txBody>
          <a:bodyPr/>
          <a:lstStyle/>
          <a:p>
            <a:r>
              <a:rPr lang="fr-FR"/>
              <a:t>TITRE DE LA SLIDE</a:t>
            </a:r>
          </a:p>
        </p:txBody>
      </p:sp>
      <p:sp>
        <p:nvSpPr>
          <p:cNvPr id="10" name="Espace réservé du texte 17">
            <a:extLst>
              <a:ext uri="{FF2B5EF4-FFF2-40B4-BE49-F238E27FC236}">
                <a16:creationId xmlns:a16="http://schemas.microsoft.com/office/drawing/2014/main" id="{AEC9E391-09AB-7AB7-F56A-2E0A28C4C5F0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38200" y="992188"/>
            <a:ext cx="5440815" cy="5051425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sz="1400" b="0">
                <a:solidFill>
                  <a:schemeClr val="bg1"/>
                </a:solidFill>
              </a:defRPr>
            </a:lvl1pPr>
          </a:lstStyle>
          <a:p>
            <a:pPr lvl="4"/>
            <a:r>
              <a:rPr lang="fr-FR"/>
              <a:t>Écrire le texte ici.</a:t>
            </a:r>
          </a:p>
          <a:p>
            <a:pPr lvl="0"/>
            <a:r>
              <a:rPr lang="fr-FR"/>
              <a:t>Faire en sorte que le nombre de caractères ne dépasse pas la hauteur de la zone</a:t>
            </a:r>
          </a:p>
        </p:txBody>
      </p:sp>
      <p:sp>
        <p:nvSpPr>
          <p:cNvPr id="11" name="Espace réservé de la date 10">
            <a:extLst>
              <a:ext uri="{FF2B5EF4-FFF2-40B4-BE49-F238E27FC236}">
                <a16:creationId xmlns:a16="http://schemas.microsoft.com/office/drawing/2014/main" id="{1ADEE53B-5200-C1F1-2CA1-03F2E24788B2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fld id="{DF342B73-D2B7-D248-96C4-EBEEB6DE26CD}" type="datetimeFigureOut">
              <a:rPr lang="fr-FR" smtClean="0"/>
              <a:pPr/>
              <a:t>04/03/2026</a:t>
            </a:fld>
            <a:endParaRPr lang="fr-FR"/>
          </a:p>
        </p:txBody>
      </p:sp>
      <p:sp>
        <p:nvSpPr>
          <p:cNvPr id="12" name="Espace réservé du pied de page 11">
            <a:extLst>
              <a:ext uri="{FF2B5EF4-FFF2-40B4-BE49-F238E27FC236}">
                <a16:creationId xmlns:a16="http://schemas.microsoft.com/office/drawing/2014/main" id="{EA0BBEF6-485C-39E6-C242-46EB27D88146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fr-FR"/>
              <a:t>-   confidentiel   -</a:t>
            </a:r>
          </a:p>
        </p:txBody>
      </p:sp>
      <p:sp>
        <p:nvSpPr>
          <p:cNvPr id="13" name="Espace réservé du numéro de diapositive 12">
            <a:extLst>
              <a:ext uri="{FF2B5EF4-FFF2-40B4-BE49-F238E27FC236}">
                <a16:creationId xmlns:a16="http://schemas.microsoft.com/office/drawing/2014/main" id="{E244D047-1D8C-3325-EE79-A7DAABC81B5C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EAA21038-A716-1548-A84E-A957E2BC7F1C}" type="slidenum">
              <a:rPr lang="fr-FR" smtClean="0"/>
              <a:pPr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87905432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tableau 4">
            <a:extLst>
              <a:ext uri="{FF2B5EF4-FFF2-40B4-BE49-F238E27FC236}">
                <a16:creationId xmlns:a16="http://schemas.microsoft.com/office/drawing/2014/main" id="{6FC67CD7-DE07-50A2-5EE1-3EEEE14CB4FA}"/>
              </a:ext>
            </a:extLst>
          </p:cNvPr>
          <p:cNvSpPr>
            <a:spLocks noGrp="1"/>
          </p:cNvSpPr>
          <p:nvPr>
            <p:ph type="tbl" sz="quarter" idx="10"/>
          </p:nvPr>
        </p:nvSpPr>
        <p:spPr>
          <a:xfrm>
            <a:off x="331167" y="1014413"/>
            <a:ext cx="11529668" cy="5186363"/>
          </a:xfrm>
          <a:prstGeom prst="rect">
            <a:avLst/>
          </a:prstGeom>
        </p:spPr>
        <p:txBody>
          <a:bodyPr vert="horz" lIns="180000" tIns="180000" rIns="0" bIns="0" rtlCol="0">
            <a:noAutofit/>
          </a:bodyPr>
          <a:lstStyle>
            <a:lvl1pPr>
              <a:defRPr lang="fr-FR" sz="1000" b="1" cap="all" dirty="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pPr lvl="0" indent="0">
              <a:buNone/>
            </a:pPr>
            <a:r>
              <a:rPr lang="fr-FR"/>
              <a:t>Cliquez sur l'icône pour ajouter un tableau</a:t>
            </a:r>
          </a:p>
        </p:txBody>
      </p:sp>
      <p:sp>
        <p:nvSpPr>
          <p:cNvPr id="3" name="Titre 8">
            <a:extLst>
              <a:ext uri="{FF2B5EF4-FFF2-40B4-BE49-F238E27FC236}">
                <a16:creationId xmlns:a16="http://schemas.microsoft.com/office/drawing/2014/main" id="{D7655E28-0F8D-37A8-388C-81E93012B93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035" y="360000"/>
            <a:ext cx="11427931" cy="276999"/>
          </a:xfrm>
        </p:spPr>
        <p:txBody>
          <a:bodyPr/>
          <a:lstStyle/>
          <a:p>
            <a:r>
              <a:rPr lang="fr-FR"/>
              <a:t>TITRE DE LA SLIDE</a:t>
            </a:r>
          </a:p>
        </p:txBody>
      </p:sp>
      <p:sp>
        <p:nvSpPr>
          <p:cNvPr id="7" name="Espace réservé de la date 6">
            <a:extLst>
              <a:ext uri="{FF2B5EF4-FFF2-40B4-BE49-F238E27FC236}">
                <a16:creationId xmlns:a16="http://schemas.microsoft.com/office/drawing/2014/main" id="{8D1D45E5-F5B7-7B92-6F74-1438695883B5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F342B73-D2B7-D248-96C4-EBEEB6DE26CD}" type="datetimeFigureOut">
              <a:rPr lang="fr-FR" smtClean="0"/>
              <a:pPr/>
              <a:t>04/03/2026</a:t>
            </a:fld>
            <a:endParaRPr lang="fr-FR"/>
          </a:p>
        </p:txBody>
      </p:sp>
      <p:sp>
        <p:nvSpPr>
          <p:cNvPr id="8" name="Espace réservé du pied de page 7">
            <a:extLst>
              <a:ext uri="{FF2B5EF4-FFF2-40B4-BE49-F238E27FC236}">
                <a16:creationId xmlns:a16="http://schemas.microsoft.com/office/drawing/2014/main" id="{B854251F-18A4-2A4F-E738-BD4EECFC5D8F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fr-FR"/>
              <a:t>-   confidentiel   -</a:t>
            </a: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CBDD4ECD-338A-F6AC-D84A-FFEE83B95493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EAA21038-A716-1548-A84E-A957E2BC7F1C}" type="slidenum">
              <a:rPr lang="fr-FR" smtClean="0"/>
              <a:pPr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73048340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Vidéo full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de l'élément multimédia 5">
            <a:extLst>
              <a:ext uri="{FF2B5EF4-FFF2-40B4-BE49-F238E27FC236}">
                <a16:creationId xmlns:a16="http://schemas.microsoft.com/office/drawing/2014/main" id="{EB3CFF48-2189-37F7-FE65-8390BFE524E1}"/>
              </a:ext>
            </a:extLst>
          </p:cNvPr>
          <p:cNvSpPr>
            <a:spLocks noGrp="1"/>
          </p:cNvSpPr>
          <p:nvPr>
            <p:ph type="media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00">
                <a:noFill/>
              </a:defRPr>
            </a:lvl1pPr>
          </a:lstStyle>
          <a:p>
            <a:r>
              <a:rPr lang="fr-FR"/>
              <a:t>Cliquez sur l'icône pour ajouter l'élément multimédia</a:t>
            </a:r>
          </a:p>
        </p:txBody>
      </p:sp>
    </p:spTree>
    <p:extLst>
      <p:ext uri="{BB962C8B-B14F-4D97-AF65-F5344CB8AC3E}">
        <p14:creationId xmlns:p14="http://schemas.microsoft.com/office/powerpoint/2010/main" val="197918192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tableaux en colon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tableau 4">
            <a:extLst>
              <a:ext uri="{FF2B5EF4-FFF2-40B4-BE49-F238E27FC236}">
                <a16:creationId xmlns:a16="http://schemas.microsoft.com/office/drawing/2014/main" id="{6FC67CD7-DE07-50A2-5EE1-3EEEE14CB4FA}"/>
              </a:ext>
            </a:extLst>
          </p:cNvPr>
          <p:cNvSpPr>
            <a:spLocks noGrp="1"/>
          </p:cNvSpPr>
          <p:nvPr>
            <p:ph type="tbl" sz="quarter" idx="10"/>
          </p:nvPr>
        </p:nvSpPr>
        <p:spPr>
          <a:xfrm>
            <a:off x="301334" y="1411979"/>
            <a:ext cx="3768191" cy="2225744"/>
          </a:xfrm>
          <a:prstGeom prst="rect">
            <a:avLst/>
          </a:prstGeom>
        </p:spPr>
        <p:txBody>
          <a:bodyPr vert="horz" lIns="180000" tIns="180000" rIns="0" bIns="0" rtlCol="0">
            <a:noAutofit/>
          </a:bodyPr>
          <a:lstStyle>
            <a:lvl1pPr>
              <a:defRPr lang="fr-FR" sz="1000" b="1" cap="all" dirty="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pPr lvl="0" indent="0">
              <a:buNone/>
            </a:pPr>
            <a:r>
              <a:rPr lang="fr-FR"/>
              <a:t>Cliquez sur l'icône pour ajouter un tableau</a:t>
            </a:r>
          </a:p>
        </p:txBody>
      </p:sp>
      <p:sp>
        <p:nvSpPr>
          <p:cNvPr id="10" name="Espace réservé du tableau 4">
            <a:extLst>
              <a:ext uri="{FF2B5EF4-FFF2-40B4-BE49-F238E27FC236}">
                <a16:creationId xmlns:a16="http://schemas.microsoft.com/office/drawing/2014/main" id="{E7B9DF52-3FA1-6F4A-BA07-81A99AF4E958}"/>
              </a:ext>
            </a:extLst>
          </p:cNvPr>
          <p:cNvSpPr>
            <a:spLocks noGrp="1"/>
          </p:cNvSpPr>
          <p:nvPr>
            <p:ph type="tbl" sz="quarter" idx="11"/>
          </p:nvPr>
        </p:nvSpPr>
        <p:spPr>
          <a:xfrm>
            <a:off x="4211905" y="1411979"/>
            <a:ext cx="3768191" cy="2225744"/>
          </a:xfrm>
          <a:prstGeom prst="rect">
            <a:avLst/>
          </a:prstGeom>
        </p:spPr>
        <p:txBody>
          <a:bodyPr vert="horz" lIns="180000" tIns="180000" rIns="0" bIns="0" rtlCol="0">
            <a:noAutofit/>
          </a:bodyPr>
          <a:lstStyle>
            <a:lvl1pPr>
              <a:defRPr lang="fr-FR" sz="1000" b="1" cap="all" dirty="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pPr lvl="0" indent="0">
              <a:buNone/>
            </a:pPr>
            <a:r>
              <a:rPr lang="fr-FR"/>
              <a:t>Cliquez sur l'icône pour ajouter un tableau</a:t>
            </a:r>
          </a:p>
        </p:txBody>
      </p:sp>
      <p:sp>
        <p:nvSpPr>
          <p:cNvPr id="11" name="Espace réservé du tableau 4">
            <a:extLst>
              <a:ext uri="{FF2B5EF4-FFF2-40B4-BE49-F238E27FC236}">
                <a16:creationId xmlns:a16="http://schemas.microsoft.com/office/drawing/2014/main" id="{E6C04FC3-3D8A-04B4-5F54-B2063F1F1820}"/>
              </a:ext>
            </a:extLst>
          </p:cNvPr>
          <p:cNvSpPr>
            <a:spLocks noGrp="1"/>
          </p:cNvSpPr>
          <p:nvPr>
            <p:ph type="tbl" sz="quarter" idx="12"/>
          </p:nvPr>
        </p:nvSpPr>
        <p:spPr>
          <a:xfrm>
            <a:off x="8117561" y="1411979"/>
            <a:ext cx="3768191" cy="2225744"/>
          </a:xfrm>
          <a:prstGeom prst="rect">
            <a:avLst/>
          </a:prstGeom>
        </p:spPr>
        <p:txBody>
          <a:bodyPr vert="horz" lIns="180000" tIns="180000" rIns="0" bIns="0" rtlCol="0">
            <a:noAutofit/>
          </a:bodyPr>
          <a:lstStyle>
            <a:lvl1pPr>
              <a:defRPr lang="fr-FR" sz="1000" b="1" cap="all" dirty="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pPr lvl="0" indent="0">
              <a:buNone/>
            </a:pPr>
            <a:r>
              <a:rPr lang="fr-FR"/>
              <a:t>Cliquez sur l'icône pour ajouter un tableau</a:t>
            </a:r>
          </a:p>
        </p:txBody>
      </p:sp>
      <p:sp>
        <p:nvSpPr>
          <p:cNvPr id="3" name="Titre 8">
            <a:extLst>
              <a:ext uri="{FF2B5EF4-FFF2-40B4-BE49-F238E27FC236}">
                <a16:creationId xmlns:a16="http://schemas.microsoft.com/office/drawing/2014/main" id="{96D76E89-D3AF-47D1-AFBA-9ECD18866FD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035" y="360000"/>
            <a:ext cx="11427931" cy="276999"/>
          </a:xfrm>
        </p:spPr>
        <p:txBody>
          <a:bodyPr/>
          <a:lstStyle/>
          <a:p>
            <a:r>
              <a:rPr lang="fr-FR"/>
              <a:t>TITRE DE LA SLIDE</a:t>
            </a:r>
          </a:p>
        </p:txBody>
      </p:sp>
      <p:sp>
        <p:nvSpPr>
          <p:cNvPr id="8" name="Espace réservé du texte 17">
            <a:extLst>
              <a:ext uri="{FF2B5EF4-FFF2-40B4-BE49-F238E27FC236}">
                <a16:creationId xmlns:a16="http://schemas.microsoft.com/office/drawing/2014/main" id="{5AB17844-6582-D49A-4EC0-0E3EFE8C51D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00988" y="3826566"/>
            <a:ext cx="3768076" cy="2107407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sz="1400" b="0">
                <a:solidFill>
                  <a:schemeClr val="bg1"/>
                </a:solidFill>
              </a:defRPr>
            </a:lvl1pPr>
          </a:lstStyle>
          <a:p>
            <a:pPr lvl="4"/>
            <a:r>
              <a:rPr lang="fr-FR"/>
              <a:t>Écrire le texte ici.</a:t>
            </a:r>
          </a:p>
          <a:p>
            <a:pPr lvl="0"/>
            <a:r>
              <a:rPr lang="fr-FR"/>
              <a:t>Faire en sorte que le nombre de caractères ne dépasse pas la hauteur de la zone</a:t>
            </a:r>
          </a:p>
        </p:txBody>
      </p:sp>
      <p:sp>
        <p:nvSpPr>
          <p:cNvPr id="9" name="Espace réservé du texte 17">
            <a:extLst>
              <a:ext uri="{FF2B5EF4-FFF2-40B4-BE49-F238E27FC236}">
                <a16:creationId xmlns:a16="http://schemas.microsoft.com/office/drawing/2014/main" id="{8F3EB6BC-968A-9B87-784C-A58B3726DDD0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211904" y="3826566"/>
            <a:ext cx="3768076" cy="2107407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sz="1400" b="0">
                <a:solidFill>
                  <a:schemeClr val="bg1"/>
                </a:solidFill>
              </a:defRPr>
            </a:lvl1pPr>
          </a:lstStyle>
          <a:p>
            <a:pPr lvl="4"/>
            <a:r>
              <a:rPr lang="fr-FR"/>
              <a:t>Écrire le texte ici.</a:t>
            </a:r>
          </a:p>
          <a:p>
            <a:pPr lvl="0"/>
            <a:r>
              <a:rPr lang="fr-FR"/>
              <a:t>Faire en sorte que le nombre de caractères ne dépasse pas la hauteur de la zone</a:t>
            </a:r>
          </a:p>
        </p:txBody>
      </p:sp>
      <p:sp>
        <p:nvSpPr>
          <p:cNvPr id="12" name="Espace réservé du texte 17">
            <a:extLst>
              <a:ext uri="{FF2B5EF4-FFF2-40B4-BE49-F238E27FC236}">
                <a16:creationId xmlns:a16="http://schemas.microsoft.com/office/drawing/2014/main" id="{357F6678-DEBC-16E5-BEAC-F69F02B5549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117561" y="3826566"/>
            <a:ext cx="3768076" cy="2107407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sz="1400" b="0">
                <a:solidFill>
                  <a:schemeClr val="bg1"/>
                </a:solidFill>
              </a:defRPr>
            </a:lvl1pPr>
          </a:lstStyle>
          <a:p>
            <a:pPr lvl="4"/>
            <a:r>
              <a:rPr lang="fr-FR"/>
              <a:t>Écrire le texte ici.</a:t>
            </a:r>
          </a:p>
          <a:p>
            <a:pPr lvl="0"/>
            <a:r>
              <a:rPr lang="fr-FR"/>
              <a:t>Faire en sorte que le nombre de caractères ne dépasse pas la hauteur de la zone</a:t>
            </a:r>
          </a:p>
        </p:txBody>
      </p:sp>
      <p:sp>
        <p:nvSpPr>
          <p:cNvPr id="16" name="Espace réservé de la date 15">
            <a:extLst>
              <a:ext uri="{FF2B5EF4-FFF2-40B4-BE49-F238E27FC236}">
                <a16:creationId xmlns:a16="http://schemas.microsoft.com/office/drawing/2014/main" id="{0B14E7AB-485C-E0BC-92F4-E248DD6CF69E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fld id="{DF342B73-D2B7-D248-96C4-EBEEB6DE26CD}" type="datetimeFigureOut">
              <a:rPr lang="fr-FR" smtClean="0"/>
              <a:pPr/>
              <a:t>04/03/2026</a:t>
            </a:fld>
            <a:endParaRPr lang="fr-FR"/>
          </a:p>
        </p:txBody>
      </p:sp>
      <p:sp>
        <p:nvSpPr>
          <p:cNvPr id="17" name="Espace réservé du pied de page 16">
            <a:extLst>
              <a:ext uri="{FF2B5EF4-FFF2-40B4-BE49-F238E27FC236}">
                <a16:creationId xmlns:a16="http://schemas.microsoft.com/office/drawing/2014/main" id="{6BE1D722-4F16-6A77-83A7-87250473BEE4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fr-FR"/>
              <a:t>-   confidentiel   -</a:t>
            </a:r>
          </a:p>
        </p:txBody>
      </p:sp>
      <p:sp>
        <p:nvSpPr>
          <p:cNvPr id="18" name="Espace réservé du numéro de diapositive 17">
            <a:extLst>
              <a:ext uri="{FF2B5EF4-FFF2-40B4-BE49-F238E27FC236}">
                <a16:creationId xmlns:a16="http://schemas.microsoft.com/office/drawing/2014/main" id="{DD4879A0-3DE7-6DF0-C130-9B9060ABA4E9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EAA21038-A716-1548-A84E-A957E2BC7F1C}" type="slidenum">
              <a:rPr lang="fr-FR" smtClean="0"/>
              <a:pPr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28427955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is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8">
            <a:extLst>
              <a:ext uri="{FF2B5EF4-FFF2-40B4-BE49-F238E27FC236}">
                <a16:creationId xmlns:a16="http://schemas.microsoft.com/office/drawing/2014/main" id="{5E95879F-2FBC-BFD2-7501-D2E8249197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035" y="360000"/>
            <a:ext cx="11427931" cy="276999"/>
          </a:xfrm>
        </p:spPr>
        <p:txBody>
          <a:bodyPr/>
          <a:lstStyle/>
          <a:p>
            <a:r>
              <a:rPr lang="fr-FR"/>
              <a:t>TITRE DE LA SLIDE</a:t>
            </a:r>
          </a:p>
        </p:txBody>
      </p:sp>
      <p:sp>
        <p:nvSpPr>
          <p:cNvPr id="9" name="Espace réservé du texte 17">
            <a:extLst>
              <a:ext uri="{FF2B5EF4-FFF2-40B4-BE49-F238E27FC236}">
                <a16:creationId xmlns:a16="http://schemas.microsoft.com/office/drawing/2014/main" id="{4F1814B4-5FFA-70CA-2652-FD23AEF5164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37842" y="1209378"/>
            <a:ext cx="10516315" cy="3971925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sz="1400" b="0">
                <a:solidFill>
                  <a:schemeClr val="bg1"/>
                </a:solidFill>
              </a:defRPr>
            </a:lvl1pPr>
          </a:lstStyle>
          <a:p>
            <a:pPr lvl="4"/>
            <a:r>
              <a:rPr lang="fr-FR"/>
              <a:t>Écrire le texte ici.</a:t>
            </a:r>
          </a:p>
          <a:p>
            <a:pPr lvl="0"/>
            <a:r>
              <a:rPr lang="fr-FR"/>
              <a:t>Faire en sorte que le nombre de caractères ne dépasse pas la hauteur de la zone</a:t>
            </a:r>
          </a:p>
        </p:txBody>
      </p:sp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BDE2B796-A113-89E2-C6A6-3D3033F9B63D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fld id="{DF342B73-D2B7-D248-96C4-EBEEB6DE26CD}" type="datetimeFigureOut">
              <a:rPr lang="fr-FR" smtClean="0"/>
              <a:pPr/>
              <a:t>04/03/2026</a:t>
            </a:fld>
            <a:endParaRPr lang="fr-FR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26808FD8-EECB-8335-3DCA-7157FD54C78E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fr-FR"/>
              <a:t>-   confidentiel   -</a:t>
            </a:r>
          </a:p>
        </p:txBody>
      </p:sp>
      <p:sp>
        <p:nvSpPr>
          <p:cNvPr id="8" name="Espace réservé du numéro de diapositive 7">
            <a:extLst>
              <a:ext uri="{FF2B5EF4-FFF2-40B4-BE49-F238E27FC236}">
                <a16:creationId xmlns:a16="http://schemas.microsoft.com/office/drawing/2014/main" id="{C985C187-6AF5-E16F-7C73-9B1ACEF11921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EAA21038-A716-1548-A84E-A957E2BC7F1C}" type="slidenum">
              <a:rPr lang="fr-FR" smtClean="0"/>
              <a:pPr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24968412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.Timelin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CD93BFAF-F201-4D62-7F01-61B2267F4F94}"/>
              </a:ext>
            </a:extLst>
          </p:cNvPr>
          <p:cNvSpPr/>
          <p:nvPr userDrawn="1"/>
        </p:nvSpPr>
        <p:spPr>
          <a:xfrm>
            <a:off x="1" y="959008"/>
            <a:ext cx="12192000" cy="4900372"/>
          </a:xfrm>
          <a:prstGeom prst="rect">
            <a:avLst/>
          </a:prstGeom>
          <a:gradFill flip="none" rotWithShape="1">
            <a:gsLst>
              <a:gs pos="0">
                <a:schemeClr val="tx1">
                  <a:alpha val="0"/>
                </a:schemeClr>
              </a:gs>
              <a:gs pos="100000">
                <a:schemeClr val="tx1">
                  <a:lumMod val="75000"/>
                  <a:lumOff val="25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900"/>
          </a:p>
        </p:txBody>
      </p:sp>
      <p:cxnSp>
        <p:nvCxnSpPr>
          <p:cNvPr id="4" name="Connecteur droit 3">
            <a:extLst>
              <a:ext uri="{FF2B5EF4-FFF2-40B4-BE49-F238E27FC236}">
                <a16:creationId xmlns:a16="http://schemas.microsoft.com/office/drawing/2014/main" id="{2F749052-BB80-9702-E631-ADE415FA93EC}"/>
              </a:ext>
            </a:extLst>
          </p:cNvPr>
          <p:cNvCxnSpPr>
            <a:cxnSpLocks/>
          </p:cNvCxnSpPr>
          <p:nvPr userDrawn="1"/>
        </p:nvCxnSpPr>
        <p:spPr>
          <a:xfrm>
            <a:off x="0" y="4061771"/>
            <a:ext cx="12192000" cy="0"/>
          </a:xfrm>
          <a:prstGeom prst="line">
            <a:avLst/>
          </a:prstGeom>
          <a:ln w="254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Espace réservé du texte 2">
            <a:extLst>
              <a:ext uri="{FF2B5EF4-FFF2-40B4-BE49-F238E27FC236}">
                <a16:creationId xmlns:a16="http://schemas.microsoft.com/office/drawing/2014/main" id="{E43F37C3-0378-8286-D01D-683B0C4E067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077271" y="-1997577"/>
            <a:ext cx="14305839" cy="190205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8" name="Titre 8">
            <a:extLst>
              <a:ext uri="{FF2B5EF4-FFF2-40B4-BE49-F238E27FC236}">
                <a16:creationId xmlns:a16="http://schemas.microsoft.com/office/drawing/2014/main" id="{99BCBE9A-A7EA-2F6D-E6C6-751074EA5BB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035" y="360000"/>
            <a:ext cx="11427931" cy="276999"/>
          </a:xfrm>
        </p:spPr>
        <p:txBody>
          <a:bodyPr/>
          <a:lstStyle/>
          <a:p>
            <a:r>
              <a:rPr lang="fr-FR"/>
              <a:t>TITRE DE LA SLIDE</a:t>
            </a:r>
          </a:p>
        </p:txBody>
      </p:sp>
      <p:sp>
        <p:nvSpPr>
          <p:cNvPr id="10" name="Espace réservé de la date 9">
            <a:extLst>
              <a:ext uri="{FF2B5EF4-FFF2-40B4-BE49-F238E27FC236}">
                <a16:creationId xmlns:a16="http://schemas.microsoft.com/office/drawing/2014/main" id="{653E59A0-5FEF-9ACD-FF8D-B273D25EB9C8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DF342B73-D2B7-D248-96C4-EBEEB6DE26CD}" type="datetimeFigureOut">
              <a:rPr lang="fr-FR" smtClean="0"/>
              <a:pPr/>
              <a:t>04/03/2026</a:t>
            </a:fld>
            <a:endParaRPr lang="fr-FR"/>
          </a:p>
        </p:txBody>
      </p:sp>
      <p:sp>
        <p:nvSpPr>
          <p:cNvPr id="11" name="Espace réservé du pied de page 10">
            <a:extLst>
              <a:ext uri="{FF2B5EF4-FFF2-40B4-BE49-F238E27FC236}">
                <a16:creationId xmlns:a16="http://schemas.microsoft.com/office/drawing/2014/main" id="{FED52166-59EA-7E4D-4636-9E6F4328DBC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/>
              <a:t>-   confidentiel   -</a:t>
            </a:r>
          </a:p>
        </p:txBody>
      </p:sp>
      <p:sp>
        <p:nvSpPr>
          <p:cNvPr id="12" name="Espace réservé du numéro de diapositive 11">
            <a:extLst>
              <a:ext uri="{FF2B5EF4-FFF2-40B4-BE49-F238E27FC236}">
                <a16:creationId xmlns:a16="http://schemas.microsoft.com/office/drawing/2014/main" id="{B514C3CF-ADF3-E384-2B18-6A911359EF4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EAA21038-A716-1548-A84E-A957E2BC7F1C}" type="slidenum">
              <a:rPr lang="fr-FR" smtClean="0"/>
              <a:pPr/>
              <a:t>‹#›</a:t>
            </a:fld>
            <a:endParaRPr lang="fr-FR"/>
          </a:p>
        </p:txBody>
      </p:sp>
      <p:sp>
        <p:nvSpPr>
          <p:cNvPr id="14" name="Espace réservé du texte 17">
            <a:extLst>
              <a:ext uri="{FF2B5EF4-FFF2-40B4-BE49-F238E27FC236}">
                <a16:creationId xmlns:a16="http://schemas.microsoft.com/office/drawing/2014/main" id="{6AFC85B9-DBE4-AEA1-5A00-8AC67AF36B7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2845391" y="2133623"/>
            <a:ext cx="1925036" cy="1603885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sz="1400" b="0">
                <a:solidFill>
                  <a:schemeClr val="bg1"/>
                </a:solidFill>
              </a:defRPr>
            </a:lvl1pPr>
            <a:lvl4pPr>
              <a:defRPr b="1"/>
            </a:lvl4pPr>
          </a:lstStyle>
          <a:p>
            <a:pPr lvl="3"/>
            <a:r>
              <a:rPr lang="fr-FR"/>
              <a:t>ÉCRIRE LE TEXTE ICI.</a:t>
            </a:r>
          </a:p>
          <a:p>
            <a:pPr lvl="0"/>
            <a:r>
              <a:rPr lang="fr-FR"/>
              <a:t>Faire en sorte que le nombre de caractères ne dépasse pas la hauteur de la zone</a:t>
            </a:r>
          </a:p>
        </p:txBody>
      </p:sp>
      <p:sp>
        <p:nvSpPr>
          <p:cNvPr id="15" name="Espace réservé du texte 15">
            <a:extLst>
              <a:ext uri="{FF2B5EF4-FFF2-40B4-BE49-F238E27FC236}">
                <a16:creationId xmlns:a16="http://schemas.microsoft.com/office/drawing/2014/main" id="{454DEC1E-525E-B335-E4D9-A419BD143026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845391" y="3967735"/>
            <a:ext cx="188170" cy="188072"/>
          </a:xfrm>
          <a:solidFill>
            <a:schemeClr val="accent1"/>
          </a:solidFill>
        </p:spPr>
        <p:txBody>
          <a:bodyPr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85835154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.Timelin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030FE034-B1B8-45D1-5986-9A469ED97F6E}"/>
              </a:ext>
            </a:extLst>
          </p:cNvPr>
          <p:cNvSpPr/>
          <p:nvPr userDrawn="1"/>
        </p:nvSpPr>
        <p:spPr>
          <a:xfrm>
            <a:off x="1" y="959008"/>
            <a:ext cx="12192000" cy="4900372"/>
          </a:xfrm>
          <a:prstGeom prst="rect">
            <a:avLst/>
          </a:prstGeom>
          <a:gradFill flip="none" rotWithShape="1">
            <a:gsLst>
              <a:gs pos="0">
                <a:schemeClr val="tx1">
                  <a:alpha val="0"/>
                </a:schemeClr>
              </a:gs>
              <a:gs pos="100000">
                <a:schemeClr val="tx1">
                  <a:lumMod val="75000"/>
                  <a:lumOff val="25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900"/>
          </a:p>
        </p:txBody>
      </p:sp>
      <p:cxnSp>
        <p:nvCxnSpPr>
          <p:cNvPr id="3" name="Connecteur droit 2">
            <a:extLst>
              <a:ext uri="{FF2B5EF4-FFF2-40B4-BE49-F238E27FC236}">
                <a16:creationId xmlns:a16="http://schemas.microsoft.com/office/drawing/2014/main" id="{F6F9A9FA-1175-16DF-DA53-A6D8BE9CC3D3}"/>
              </a:ext>
            </a:extLst>
          </p:cNvPr>
          <p:cNvCxnSpPr/>
          <p:nvPr userDrawn="1"/>
        </p:nvCxnSpPr>
        <p:spPr>
          <a:xfrm>
            <a:off x="0" y="4061771"/>
            <a:ext cx="12037849" cy="0"/>
          </a:xfrm>
          <a:prstGeom prst="line">
            <a:avLst/>
          </a:prstGeom>
          <a:ln w="254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riangle 3">
            <a:extLst>
              <a:ext uri="{FF2B5EF4-FFF2-40B4-BE49-F238E27FC236}">
                <a16:creationId xmlns:a16="http://schemas.microsoft.com/office/drawing/2014/main" id="{00DE0B0C-8F9E-079B-ED5E-7FA6B081A667}"/>
              </a:ext>
            </a:extLst>
          </p:cNvPr>
          <p:cNvSpPr/>
          <p:nvPr userDrawn="1"/>
        </p:nvSpPr>
        <p:spPr>
          <a:xfrm rot="5400000">
            <a:off x="11881391" y="3905279"/>
            <a:ext cx="132347" cy="312984"/>
          </a:xfrm>
          <a:prstGeom prst="triangl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900"/>
          </a:p>
        </p:txBody>
      </p:sp>
      <p:sp>
        <p:nvSpPr>
          <p:cNvPr id="5" name="Espace réservé du texte 2">
            <a:extLst>
              <a:ext uri="{FF2B5EF4-FFF2-40B4-BE49-F238E27FC236}">
                <a16:creationId xmlns:a16="http://schemas.microsoft.com/office/drawing/2014/main" id="{22352892-2B2D-E542-569B-833E58CA076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077271" y="-1997577"/>
            <a:ext cx="14305839" cy="190205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9" name="Titre 8">
            <a:extLst>
              <a:ext uri="{FF2B5EF4-FFF2-40B4-BE49-F238E27FC236}">
                <a16:creationId xmlns:a16="http://schemas.microsoft.com/office/drawing/2014/main" id="{91C9F1CF-8F29-E6D6-0617-FF83235F188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035" y="360000"/>
            <a:ext cx="11427931" cy="276999"/>
          </a:xfrm>
        </p:spPr>
        <p:txBody>
          <a:bodyPr/>
          <a:lstStyle/>
          <a:p>
            <a:r>
              <a:rPr lang="fr-FR"/>
              <a:t>TITRE DE LA SLIDE</a:t>
            </a:r>
          </a:p>
        </p:txBody>
      </p:sp>
      <p:sp>
        <p:nvSpPr>
          <p:cNvPr id="11" name="Espace réservé du texte 17">
            <a:extLst>
              <a:ext uri="{FF2B5EF4-FFF2-40B4-BE49-F238E27FC236}">
                <a16:creationId xmlns:a16="http://schemas.microsoft.com/office/drawing/2014/main" id="{E58204AF-7D32-2433-AC38-18E68FFC504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2845391" y="2133623"/>
            <a:ext cx="1925036" cy="1603885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sz="1400" b="0">
                <a:solidFill>
                  <a:schemeClr val="bg1"/>
                </a:solidFill>
              </a:defRPr>
            </a:lvl1pPr>
            <a:lvl4pPr>
              <a:defRPr b="1"/>
            </a:lvl4pPr>
          </a:lstStyle>
          <a:p>
            <a:pPr lvl="3"/>
            <a:r>
              <a:rPr lang="fr-FR"/>
              <a:t>ÉCRIRE LE TEXTE ICI.</a:t>
            </a:r>
          </a:p>
          <a:p>
            <a:pPr lvl="0"/>
            <a:r>
              <a:rPr lang="fr-FR"/>
              <a:t>Faire en sorte que le nombre de caractères ne dépasse pas la hauteur de la zone</a:t>
            </a:r>
          </a:p>
        </p:txBody>
      </p:sp>
      <p:sp>
        <p:nvSpPr>
          <p:cNvPr id="12" name="Espace réservé de la date 11">
            <a:extLst>
              <a:ext uri="{FF2B5EF4-FFF2-40B4-BE49-F238E27FC236}">
                <a16:creationId xmlns:a16="http://schemas.microsoft.com/office/drawing/2014/main" id="{3405C47C-EE73-C41C-F314-89FE073CB011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fld id="{DF342B73-D2B7-D248-96C4-EBEEB6DE26CD}" type="datetimeFigureOut">
              <a:rPr lang="fr-FR" smtClean="0"/>
              <a:pPr/>
              <a:t>04/03/2026</a:t>
            </a:fld>
            <a:endParaRPr lang="fr-FR"/>
          </a:p>
        </p:txBody>
      </p:sp>
      <p:sp>
        <p:nvSpPr>
          <p:cNvPr id="13" name="Espace réservé du pied de page 12">
            <a:extLst>
              <a:ext uri="{FF2B5EF4-FFF2-40B4-BE49-F238E27FC236}">
                <a16:creationId xmlns:a16="http://schemas.microsoft.com/office/drawing/2014/main" id="{37B60A6A-E9B9-03BB-8663-4A6344B09D18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fr-FR"/>
              <a:t>-   confidentiel   -</a:t>
            </a:r>
          </a:p>
        </p:txBody>
      </p:sp>
      <p:sp>
        <p:nvSpPr>
          <p:cNvPr id="14" name="Espace réservé du numéro de diapositive 13">
            <a:extLst>
              <a:ext uri="{FF2B5EF4-FFF2-40B4-BE49-F238E27FC236}">
                <a16:creationId xmlns:a16="http://schemas.microsoft.com/office/drawing/2014/main" id="{7C8E6FB1-7FC5-22B8-77FA-017B7F12B508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EAA21038-A716-1548-A84E-A957E2BC7F1C}" type="slidenum">
              <a:rPr lang="fr-FR" smtClean="0"/>
              <a:pPr/>
              <a:t>‹#›</a:t>
            </a:fld>
            <a:endParaRPr lang="fr-FR"/>
          </a:p>
        </p:txBody>
      </p:sp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70DE3D61-2A47-D8BA-41EC-FA6CB47243B9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845391" y="3967735"/>
            <a:ext cx="188170" cy="188072"/>
          </a:xfrm>
          <a:solidFill>
            <a:schemeClr val="accent1"/>
          </a:solidFill>
        </p:spPr>
        <p:txBody>
          <a:bodyPr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384797820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 avec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re 8">
            <a:extLst>
              <a:ext uri="{FF2B5EF4-FFF2-40B4-BE49-F238E27FC236}">
                <a16:creationId xmlns:a16="http://schemas.microsoft.com/office/drawing/2014/main" id="{EC3C7C1C-647D-55D3-3DF9-262C378A54B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035" y="360000"/>
            <a:ext cx="11427931" cy="276999"/>
          </a:xfrm>
        </p:spPr>
        <p:txBody>
          <a:bodyPr/>
          <a:lstStyle/>
          <a:p>
            <a:r>
              <a:rPr lang="fr-FR"/>
              <a:t>TITRE DE LA SLIDE</a:t>
            </a:r>
          </a:p>
        </p:txBody>
      </p:sp>
      <p:sp>
        <p:nvSpPr>
          <p:cNvPr id="9" name="Espace réservé de la date 8">
            <a:extLst>
              <a:ext uri="{FF2B5EF4-FFF2-40B4-BE49-F238E27FC236}">
                <a16:creationId xmlns:a16="http://schemas.microsoft.com/office/drawing/2014/main" id="{2C3183E2-DE42-00AC-594B-85FB20E5CEDB}"/>
              </a:ext>
            </a:extLst>
          </p:cNvPr>
          <p:cNvSpPr>
            <a:spLocks noGrp="1"/>
          </p:cNvSpPr>
          <p:nvPr>
            <p:ph type="dt" sz="half" idx="21"/>
          </p:nvPr>
        </p:nvSpPr>
        <p:spPr/>
        <p:txBody>
          <a:bodyPr/>
          <a:lstStyle/>
          <a:p>
            <a:fld id="{DF342B73-D2B7-D248-96C4-EBEEB6DE26CD}" type="datetimeFigureOut">
              <a:rPr lang="fr-FR" smtClean="0"/>
              <a:pPr/>
              <a:t>04/03/2026</a:t>
            </a:fld>
            <a:endParaRPr lang="fr-FR"/>
          </a:p>
        </p:txBody>
      </p:sp>
      <p:sp>
        <p:nvSpPr>
          <p:cNvPr id="10" name="Espace réservé du pied de page 9">
            <a:extLst>
              <a:ext uri="{FF2B5EF4-FFF2-40B4-BE49-F238E27FC236}">
                <a16:creationId xmlns:a16="http://schemas.microsoft.com/office/drawing/2014/main" id="{926E50A2-468A-05C3-F7DC-2C39CB7A2317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r>
              <a:rPr lang="fr-FR"/>
              <a:t>-   confidentiel   -</a:t>
            </a:r>
          </a:p>
        </p:txBody>
      </p:sp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B83B470C-69B7-B82E-9A4A-B13A7D30CF5B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EAA21038-A716-1548-A84E-A957E2BC7F1C}" type="slidenum">
              <a:rPr lang="fr-FR" smtClean="0"/>
              <a:pPr/>
              <a:t>‹#›</a:t>
            </a:fld>
            <a:endParaRPr lang="fr-FR"/>
          </a:p>
        </p:txBody>
      </p:sp>
      <p:sp>
        <p:nvSpPr>
          <p:cNvPr id="13" name="Espace réservé du texte 17">
            <a:extLst>
              <a:ext uri="{FF2B5EF4-FFF2-40B4-BE49-F238E27FC236}">
                <a16:creationId xmlns:a16="http://schemas.microsoft.com/office/drawing/2014/main" id="{D49C93FE-BD84-3781-0501-C4CD4BF9825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723516" y="1947242"/>
            <a:ext cx="2744970" cy="2525826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sz="1400" b="0">
                <a:solidFill>
                  <a:schemeClr val="bg1"/>
                </a:solidFill>
              </a:defRPr>
            </a:lvl1pPr>
          </a:lstStyle>
          <a:p>
            <a:pPr lvl="4"/>
            <a:r>
              <a:rPr lang="fr-FR"/>
              <a:t>Écrire le texte ici.</a:t>
            </a:r>
          </a:p>
          <a:p>
            <a:pPr lvl="0"/>
            <a:r>
              <a:rPr lang="fr-FR"/>
              <a:t>Texte libre à formater selon le besoin</a:t>
            </a:r>
          </a:p>
        </p:txBody>
      </p:sp>
    </p:spTree>
    <p:extLst>
      <p:ext uri="{BB962C8B-B14F-4D97-AF65-F5344CB8AC3E}">
        <p14:creationId xmlns:p14="http://schemas.microsoft.com/office/powerpoint/2010/main" val="233960148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.Vierge noi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Espace réservé de la date 8">
            <a:extLst>
              <a:ext uri="{FF2B5EF4-FFF2-40B4-BE49-F238E27FC236}">
                <a16:creationId xmlns:a16="http://schemas.microsoft.com/office/drawing/2014/main" id="{C43EA0A6-97C3-0973-BA65-D123450D17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342B73-D2B7-D248-96C4-EBEEB6DE26CD}" type="datetimeFigureOut">
              <a:rPr lang="fr-FR" smtClean="0"/>
              <a:pPr/>
              <a:t>04/03/2026</a:t>
            </a:fld>
            <a:endParaRPr lang="fr-FR"/>
          </a:p>
        </p:txBody>
      </p:sp>
      <p:sp>
        <p:nvSpPr>
          <p:cNvPr id="10" name="Espace réservé du pied de page 9">
            <a:extLst>
              <a:ext uri="{FF2B5EF4-FFF2-40B4-BE49-F238E27FC236}">
                <a16:creationId xmlns:a16="http://schemas.microsoft.com/office/drawing/2014/main" id="{0D14417A-D9F2-E0E1-124B-F1BF075E098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-   confidentiel   -</a:t>
            </a:r>
          </a:p>
        </p:txBody>
      </p:sp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39465DB1-8B81-5B52-E2C2-466FCAEEBB7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21038-A716-1548-A84E-A957E2BC7F1C}" type="slidenum">
              <a:rPr lang="fr-FR" smtClean="0"/>
              <a:pPr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88383254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.Bibliothèque formes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oneTexte 2">
            <a:extLst>
              <a:ext uri="{FF2B5EF4-FFF2-40B4-BE49-F238E27FC236}">
                <a16:creationId xmlns:a16="http://schemas.microsoft.com/office/drawing/2014/main" id="{55C9035D-4263-50F5-E06B-B4981064B515}"/>
              </a:ext>
            </a:extLst>
          </p:cNvPr>
          <p:cNvSpPr txBox="1"/>
          <p:nvPr userDrawn="1"/>
        </p:nvSpPr>
        <p:spPr>
          <a:xfrm>
            <a:off x="385683" y="313765"/>
            <a:ext cx="7928930" cy="6309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750" i="1" cap="all" baseline="0">
                <a:solidFill>
                  <a:schemeClr val="accent1"/>
                </a:solidFill>
              </a:rPr>
              <a:t>BIBLIOTHÈQUE DE FORMES</a:t>
            </a:r>
          </a:p>
          <a:p>
            <a:pPr marL="228600" indent="-228600"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</a:pPr>
            <a:r>
              <a:rPr lang="fr-FR" sz="1750" i="1" cap="all" baseline="0">
                <a:solidFill>
                  <a:schemeClr val="bg2"/>
                </a:solidFill>
              </a:rPr>
              <a:t>alphabet pointillés</a:t>
            </a:r>
          </a:p>
        </p:txBody>
      </p:sp>
    </p:spTree>
    <p:extLst>
      <p:ext uri="{BB962C8B-B14F-4D97-AF65-F5344CB8AC3E}">
        <p14:creationId xmlns:p14="http://schemas.microsoft.com/office/powerpoint/2010/main" val="3434961737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.Bibliothèque forme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oneTexte 2">
            <a:extLst>
              <a:ext uri="{FF2B5EF4-FFF2-40B4-BE49-F238E27FC236}">
                <a16:creationId xmlns:a16="http://schemas.microsoft.com/office/drawing/2014/main" id="{55C9035D-4263-50F5-E06B-B4981064B515}"/>
              </a:ext>
            </a:extLst>
          </p:cNvPr>
          <p:cNvSpPr txBox="1"/>
          <p:nvPr userDrawn="1"/>
        </p:nvSpPr>
        <p:spPr>
          <a:xfrm>
            <a:off x="385683" y="313765"/>
            <a:ext cx="7928930" cy="6309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750" i="1" cap="all" baseline="0">
                <a:solidFill>
                  <a:schemeClr val="accent1"/>
                </a:solidFill>
              </a:rPr>
              <a:t>BIBLIOTHÈQUE DE FORMES</a:t>
            </a:r>
          </a:p>
          <a:p>
            <a:pPr marL="228600" indent="-228600"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</a:pPr>
            <a:r>
              <a:rPr lang="fr-FR" sz="1750" i="1" cap="all" baseline="0">
                <a:solidFill>
                  <a:schemeClr val="bg2"/>
                </a:solidFill>
              </a:rPr>
              <a:t>alphabet de + &gt; I</a:t>
            </a:r>
          </a:p>
        </p:txBody>
      </p:sp>
      <p:sp>
        <p:nvSpPr>
          <p:cNvPr id="2" name="ZoneTexte 1">
            <a:extLst>
              <a:ext uri="{FF2B5EF4-FFF2-40B4-BE49-F238E27FC236}">
                <a16:creationId xmlns:a16="http://schemas.microsoft.com/office/drawing/2014/main" id="{720CDEE0-0E1F-653B-387F-31A024580F04}"/>
              </a:ext>
            </a:extLst>
          </p:cNvPr>
          <p:cNvSpPr txBox="1"/>
          <p:nvPr userDrawn="1"/>
        </p:nvSpPr>
        <p:spPr>
          <a:xfrm>
            <a:off x="385683" y="1075765"/>
            <a:ext cx="1874600" cy="2353236"/>
          </a:xfrm>
          <a:prstGeom prst="rect">
            <a:avLst/>
          </a:prstGeom>
          <a:noFill/>
          <a:ln>
            <a:solidFill>
              <a:schemeClr val="tx1">
                <a:lumMod val="65000"/>
                <a:lumOff val="35000"/>
              </a:schemeClr>
            </a:solidFill>
          </a:ln>
        </p:spPr>
        <p:txBody>
          <a:bodyPr wrap="none" rtlCol="0">
            <a:noAutofit/>
          </a:bodyPr>
          <a:lstStyle/>
          <a:p>
            <a:r>
              <a:rPr lang="fr-FR" sz="2000" b="1" i="1">
                <a:solidFill>
                  <a:schemeClr val="bg2"/>
                </a:solidFill>
              </a:rPr>
              <a:t>+</a:t>
            </a:r>
          </a:p>
        </p:txBody>
      </p:sp>
      <p:sp>
        <p:nvSpPr>
          <p:cNvPr id="4" name="ZoneTexte 3">
            <a:extLst>
              <a:ext uri="{FF2B5EF4-FFF2-40B4-BE49-F238E27FC236}">
                <a16:creationId xmlns:a16="http://schemas.microsoft.com/office/drawing/2014/main" id="{1FECA8AF-638D-814C-D575-89326F924730}"/>
              </a:ext>
            </a:extLst>
          </p:cNvPr>
          <p:cNvSpPr txBox="1"/>
          <p:nvPr userDrawn="1"/>
        </p:nvSpPr>
        <p:spPr>
          <a:xfrm>
            <a:off x="2690813" y="1075765"/>
            <a:ext cx="1874600" cy="2353236"/>
          </a:xfrm>
          <a:prstGeom prst="rect">
            <a:avLst/>
          </a:prstGeom>
          <a:noFill/>
          <a:ln>
            <a:solidFill>
              <a:schemeClr val="tx1">
                <a:lumMod val="65000"/>
                <a:lumOff val="35000"/>
              </a:schemeClr>
            </a:solidFill>
          </a:ln>
        </p:spPr>
        <p:txBody>
          <a:bodyPr wrap="none" rtlCol="0">
            <a:noAutofit/>
          </a:bodyPr>
          <a:lstStyle>
            <a:defPPr>
              <a:defRPr lang="fr-FR"/>
            </a:defPPr>
            <a:lvl1pPr>
              <a:defRPr sz="4000" b="1" i="1">
                <a:solidFill>
                  <a:schemeClr val="bg2"/>
                </a:solidFill>
              </a:defRPr>
            </a:lvl1pPr>
          </a:lstStyle>
          <a:p>
            <a:r>
              <a:rPr lang="fr-FR" sz="2000"/>
              <a:t>A</a:t>
            </a:r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F3044CFA-4341-5155-3EA3-E557A23FEA3A}"/>
              </a:ext>
            </a:extLst>
          </p:cNvPr>
          <p:cNvSpPr txBox="1"/>
          <p:nvPr userDrawn="1"/>
        </p:nvSpPr>
        <p:spPr>
          <a:xfrm>
            <a:off x="4995943" y="1075765"/>
            <a:ext cx="1874600" cy="2353236"/>
          </a:xfrm>
          <a:prstGeom prst="rect">
            <a:avLst/>
          </a:prstGeom>
          <a:noFill/>
          <a:ln>
            <a:solidFill>
              <a:schemeClr val="tx1">
                <a:lumMod val="65000"/>
                <a:lumOff val="35000"/>
              </a:schemeClr>
            </a:solidFill>
          </a:ln>
        </p:spPr>
        <p:txBody>
          <a:bodyPr wrap="none" rtlCol="0">
            <a:noAutofit/>
          </a:bodyPr>
          <a:lstStyle>
            <a:defPPr>
              <a:defRPr lang="fr-FR"/>
            </a:defPPr>
            <a:lvl1pPr>
              <a:defRPr sz="4000" b="1" i="1">
                <a:solidFill>
                  <a:schemeClr val="bg2"/>
                </a:solidFill>
              </a:defRPr>
            </a:lvl1pPr>
          </a:lstStyle>
          <a:p>
            <a:r>
              <a:rPr lang="fr-FR" sz="2000"/>
              <a:t>B</a:t>
            </a: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5C96347B-B2BE-AC13-5173-FB95E06C5260}"/>
              </a:ext>
            </a:extLst>
          </p:cNvPr>
          <p:cNvSpPr txBox="1"/>
          <p:nvPr userDrawn="1"/>
        </p:nvSpPr>
        <p:spPr>
          <a:xfrm>
            <a:off x="7301073" y="1075765"/>
            <a:ext cx="1874600" cy="2353236"/>
          </a:xfrm>
          <a:prstGeom prst="rect">
            <a:avLst/>
          </a:prstGeom>
          <a:noFill/>
          <a:ln>
            <a:solidFill>
              <a:schemeClr val="tx1">
                <a:lumMod val="65000"/>
                <a:lumOff val="35000"/>
              </a:schemeClr>
            </a:solidFill>
          </a:ln>
        </p:spPr>
        <p:txBody>
          <a:bodyPr wrap="none" rtlCol="0">
            <a:noAutofit/>
          </a:bodyPr>
          <a:lstStyle>
            <a:defPPr>
              <a:defRPr lang="fr-FR"/>
            </a:defPPr>
            <a:lvl1pPr>
              <a:defRPr sz="4000" b="1" i="1">
                <a:solidFill>
                  <a:schemeClr val="bg2"/>
                </a:solidFill>
              </a:defRPr>
            </a:lvl1pPr>
          </a:lstStyle>
          <a:p>
            <a:r>
              <a:rPr lang="fr-FR" sz="2000"/>
              <a:t>C</a:t>
            </a: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58F22A0E-4EED-1C83-9F76-84453D04D55F}"/>
              </a:ext>
            </a:extLst>
          </p:cNvPr>
          <p:cNvSpPr txBox="1"/>
          <p:nvPr userDrawn="1"/>
        </p:nvSpPr>
        <p:spPr>
          <a:xfrm>
            <a:off x="9606203" y="1075765"/>
            <a:ext cx="1874600" cy="2353236"/>
          </a:xfrm>
          <a:prstGeom prst="rect">
            <a:avLst/>
          </a:prstGeom>
          <a:noFill/>
          <a:ln>
            <a:solidFill>
              <a:schemeClr val="tx1">
                <a:lumMod val="65000"/>
                <a:lumOff val="35000"/>
              </a:schemeClr>
            </a:solidFill>
          </a:ln>
        </p:spPr>
        <p:txBody>
          <a:bodyPr wrap="none" rtlCol="0">
            <a:noAutofit/>
          </a:bodyPr>
          <a:lstStyle>
            <a:defPPr>
              <a:defRPr lang="fr-FR"/>
            </a:defPPr>
            <a:lvl1pPr>
              <a:defRPr sz="4000" b="1" i="1">
                <a:solidFill>
                  <a:schemeClr val="bg2"/>
                </a:solidFill>
              </a:defRPr>
            </a:lvl1pPr>
          </a:lstStyle>
          <a:p>
            <a:r>
              <a:rPr lang="fr-FR" sz="2000"/>
              <a:t>D</a:t>
            </a:r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id="{F1C8AB1A-BE7F-D718-8925-5099D3304D19}"/>
              </a:ext>
            </a:extLst>
          </p:cNvPr>
          <p:cNvSpPr txBox="1"/>
          <p:nvPr userDrawn="1"/>
        </p:nvSpPr>
        <p:spPr>
          <a:xfrm>
            <a:off x="385683" y="3693459"/>
            <a:ext cx="1874600" cy="2353236"/>
          </a:xfrm>
          <a:prstGeom prst="rect">
            <a:avLst/>
          </a:prstGeom>
          <a:noFill/>
          <a:ln>
            <a:solidFill>
              <a:schemeClr val="tx1">
                <a:lumMod val="65000"/>
                <a:lumOff val="35000"/>
              </a:schemeClr>
            </a:solidFill>
          </a:ln>
        </p:spPr>
        <p:txBody>
          <a:bodyPr wrap="none" rtlCol="0">
            <a:noAutofit/>
          </a:bodyPr>
          <a:lstStyle/>
          <a:p>
            <a:r>
              <a:rPr lang="fr-FR" sz="2000" b="1" i="1">
                <a:solidFill>
                  <a:schemeClr val="bg2"/>
                </a:solidFill>
              </a:rPr>
              <a:t>E</a:t>
            </a:r>
          </a:p>
        </p:txBody>
      </p:sp>
      <p:sp>
        <p:nvSpPr>
          <p:cNvPr id="9" name="ZoneTexte 8">
            <a:extLst>
              <a:ext uri="{FF2B5EF4-FFF2-40B4-BE49-F238E27FC236}">
                <a16:creationId xmlns:a16="http://schemas.microsoft.com/office/drawing/2014/main" id="{31764A62-01FE-9E2D-186F-4B3FD875E1FB}"/>
              </a:ext>
            </a:extLst>
          </p:cNvPr>
          <p:cNvSpPr txBox="1"/>
          <p:nvPr userDrawn="1"/>
        </p:nvSpPr>
        <p:spPr>
          <a:xfrm>
            <a:off x="2690813" y="3693459"/>
            <a:ext cx="1874600" cy="2353236"/>
          </a:xfrm>
          <a:prstGeom prst="rect">
            <a:avLst/>
          </a:prstGeom>
          <a:noFill/>
          <a:ln>
            <a:solidFill>
              <a:schemeClr val="tx1">
                <a:lumMod val="65000"/>
                <a:lumOff val="35000"/>
              </a:schemeClr>
            </a:solidFill>
          </a:ln>
        </p:spPr>
        <p:txBody>
          <a:bodyPr wrap="none" rtlCol="0">
            <a:noAutofit/>
          </a:bodyPr>
          <a:lstStyle>
            <a:defPPr>
              <a:defRPr lang="fr-FR"/>
            </a:defPPr>
            <a:lvl1pPr>
              <a:defRPr sz="4000" b="1" i="1">
                <a:solidFill>
                  <a:schemeClr val="bg2"/>
                </a:solidFill>
              </a:defRPr>
            </a:lvl1pPr>
          </a:lstStyle>
          <a:p>
            <a:r>
              <a:rPr lang="fr-FR" sz="2000"/>
              <a:t>F</a:t>
            </a:r>
          </a:p>
        </p:txBody>
      </p:sp>
      <p:sp>
        <p:nvSpPr>
          <p:cNvPr id="10" name="ZoneTexte 9">
            <a:extLst>
              <a:ext uri="{FF2B5EF4-FFF2-40B4-BE49-F238E27FC236}">
                <a16:creationId xmlns:a16="http://schemas.microsoft.com/office/drawing/2014/main" id="{18CF5221-0803-3D34-A3D0-3961CD8D3D3B}"/>
              </a:ext>
            </a:extLst>
          </p:cNvPr>
          <p:cNvSpPr txBox="1"/>
          <p:nvPr userDrawn="1"/>
        </p:nvSpPr>
        <p:spPr>
          <a:xfrm>
            <a:off x="4995943" y="3693459"/>
            <a:ext cx="1874600" cy="2353236"/>
          </a:xfrm>
          <a:prstGeom prst="rect">
            <a:avLst/>
          </a:prstGeom>
          <a:noFill/>
          <a:ln>
            <a:solidFill>
              <a:schemeClr val="tx1">
                <a:lumMod val="65000"/>
                <a:lumOff val="35000"/>
              </a:schemeClr>
            </a:solidFill>
          </a:ln>
        </p:spPr>
        <p:txBody>
          <a:bodyPr wrap="none" rtlCol="0">
            <a:noAutofit/>
          </a:bodyPr>
          <a:lstStyle>
            <a:defPPr>
              <a:defRPr lang="fr-FR"/>
            </a:defPPr>
            <a:lvl1pPr>
              <a:defRPr sz="4000" b="1" i="1">
                <a:solidFill>
                  <a:schemeClr val="bg2"/>
                </a:solidFill>
              </a:defRPr>
            </a:lvl1pPr>
          </a:lstStyle>
          <a:p>
            <a:r>
              <a:rPr lang="fr-FR" sz="2000"/>
              <a:t>G</a:t>
            </a:r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39E4D87E-A594-5ECC-2CA9-81C8BACBCF3E}"/>
              </a:ext>
            </a:extLst>
          </p:cNvPr>
          <p:cNvSpPr txBox="1"/>
          <p:nvPr userDrawn="1"/>
        </p:nvSpPr>
        <p:spPr>
          <a:xfrm>
            <a:off x="7301073" y="3693459"/>
            <a:ext cx="1874600" cy="2353236"/>
          </a:xfrm>
          <a:prstGeom prst="rect">
            <a:avLst/>
          </a:prstGeom>
          <a:noFill/>
          <a:ln>
            <a:solidFill>
              <a:schemeClr val="tx1">
                <a:lumMod val="65000"/>
                <a:lumOff val="35000"/>
              </a:schemeClr>
            </a:solidFill>
          </a:ln>
        </p:spPr>
        <p:txBody>
          <a:bodyPr wrap="none" rtlCol="0">
            <a:noAutofit/>
          </a:bodyPr>
          <a:lstStyle>
            <a:defPPr>
              <a:defRPr lang="fr-FR"/>
            </a:defPPr>
            <a:lvl1pPr>
              <a:defRPr sz="4000" b="1" i="1">
                <a:solidFill>
                  <a:schemeClr val="bg2"/>
                </a:solidFill>
              </a:defRPr>
            </a:lvl1pPr>
          </a:lstStyle>
          <a:p>
            <a:r>
              <a:rPr lang="fr-FR" sz="2000"/>
              <a:t>H</a:t>
            </a:r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AB5B2D6C-5C94-874D-8F59-EDEE4FF0D7C1}"/>
              </a:ext>
            </a:extLst>
          </p:cNvPr>
          <p:cNvSpPr txBox="1"/>
          <p:nvPr userDrawn="1"/>
        </p:nvSpPr>
        <p:spPr>
          <a:xfrm>
            <a:off x="9606203" y="3693459"/>
            <a:ext cx="1874600" cy="2353236"/>
          </a:xfrm>
          <a:prstGeom prst="rect">
            <a:avLst/>
          </a:prstGeom>
          <a:noFill/>
          <a:ln>
            <a:solidFill>
              <a:schemeClr val="tx1">
                <a:lumMod val="65000"/>
                <a:lumOff val="35000"/>
              </a:schemeClr>
            </a:solidFill>
          </a:ln>
        </p:spPr>
        <p:txBody>
          <a:bodyPr wrap="none" rtlCol="0">
            <a:noAutofit/>
          </a:bodyPr>
          <a:lstStyle>
            <a:defPPr>
              <a:defRPr lang="fr-FR"/>
            </a:defPPr>
            <a:lvl1pPr>
              <a:defRPr sz="4000" b="1" i="1">
                <a:solidFill>
                  <a:schemeClr val="bg2"/>
                </a:solidFill>
              </a:defRPr>
            </a:lvl1pPr>
          </a:lstStyle>
          <a:p>
            <a:r>
              <a:rPr lang="fr-FR" sz="2000"/>
              <a:t>I</a:t>
            </a:r>
          </a:p>
        </p:txBody>
      </p:sp>
    </p:spTree>
    <p:extLst>
      <p:ext uri="{BB962C8B-B14F-4D97-AF65-F5344CB8AC3E}">
        <p14:creationId xmlns:p14="http://schemas.microsoft.com/office/powerpoint/2010/main" val="3620736692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.Bibliothèque formes 2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oneTexte 2">
            <a:extLst>
              <a:ext uri="{FF2B5EF4-FFF2-40B4-BE49-F238E27FC236}">
                <a16:creationId xmlns:a16="http://schemas.microsoft.com/office/drawing/2014/main" id="{55C9035D-4263-50F5-E06B-B4981064B515}"/>
              </a:ext>
            </a:extLst>
          </p:cNvPr>
          <p:cNvSpPr txBox="1"/>
          <p:nvPr userDrawn="1"/>
        </p:nvSpPr>
        <p:spPr>
          <a:xfrm>
            <a:off x="385683" y="313765"/>
            <a:ext cx="7928930" cy="6309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750" i="1" cap="all" baseline="0">
                <a:solidFill>
                  <a:schemeClr val="accent1"/>
                </a:solidFill>
              </a:rPr>
              <a:t>BIBLIOTHÈQUE DE FORMES</a:t>
            </a:r>
          </a:p>
          <a:p>
            <a:pPr marL="228600" indent="-228600"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</a:pPr>
            <a:r>
              <a:rPr lang="fr-FR" sz="1750" i="1" cap="all" baseline="0">
                <a:solidFill>
                  <a:schemeClr val="bg2"/>
                </a:solidFill>
              </a:rPr>
              <a:t>alphabet de J &gt; S</a:t>
            </a:r>
          </a:p>
        </p:txBody>
      </p:sp>
      <p:sp>
        <p:nvSpPr>
          <p:cNvPr id="2" name="ZoneTexte 1">
            <a:extLst>
              <a:ext uri="{FF2B5EF4-FFF2-40B4-BE49-F238E27FC236}">
                <a16:creationId xmlns:a16="http://schemas.microsoft.com/office/drawing/2014/main" id="{720CDEE0-0E1F-653B-387F-31A024580F04}"/>
              </a:ext>
            </a:extLst>
          </p:cNvPr>
          <p:cNvSpPr txBox="1"/>
          <p:nvPr userDrawn="1"/>
        </p:nvSpPr>
        <p:spPr>
          <a:xfrm>
            <a:off x="385683" y="1075765"/>
            <a:ext cx="1874600" cy="2353236"/>
          </a:xfrm>
          <a:prstGeom prst="rect">
            <a:avLst/>
          </a:prstGeom>
          <a:noFill/>
          <a:ln>
            <a:solidFill>
              <a:schemeClr val="tx1">
                <a:lumMod val="65000"/>
                <a:lumOff val="35000"/>
              </a:schemeClr>
            </a:solidFill>
          </a:ln>
        </p:spPr>
        <p:txBody>
          <a:bodyPr wrap="none" rtlCol="0">
            <a:noAutofit/>
          </a:bodyPr>
          <a:lstStyle/>
          <a:p>
            <a:r>
              <a:rPr lang="fr-FR" sz="2000" b="1" i="1">
                <a:solidFill>
                  <a:schemeClr val="bg2"/>
                </a:solidFill>
              </a:rPr>
              <a:t>J</a:t>
            </a:r>
          </a:p>
        </p:txBody>
      </p:sp>
      <p:sp>
        <p:nvSpPr>
          <p:cNvPr id="4" name="ZoneTexte 3">
            <a:extLst>
              <a:ext uri="{FF2B5EF4-FFF2-40B4-BE49-F238E27FC236}">
                <a16:creationId xmlns:a16="http://schemas.microsoft.com/office/drawing/2014/main" id="{1FECA8AF-638D-814C-D575-89326F924730}"/>
              </a:ext>
            </a:extLst>
          </p:cNvPr>
          <p:cNvSpPr txBox="1"/>
          <p:nvPr userDrawn="1"/>
        </p:nvSpPr>
        <p:spPr>
          <a:xfrm>
            <a:off x="2690813" y="1075765"/>
            <a:ext cx="1874600" cy="2353236"/>
          </a:xfrm>
          <a:prstGeom prst="rect">
            <a:avLst/>
          </a:prstGeom>
          <a:noFill/>
          <a:ln>
            <a:solidFill>
              <a:schemeClr val="tx1">
                <a:lumMod val="65000"/>
                <a:lumOff val="35000"/>
              </a:schemeClr>
            </a:solidFill>
          </a:ln>
        </p:spPr>
        <p:txBody>
          <a:bodyPr wrap="none" rtlCol="0">
            <a:noAutofit/>
          </a:bodyPr>
          <a:lstStyle>
            <a:defPPr>
              <a:defRPr lang="fr-FR"/>
            </a:defPPr>
            <a:lvl1pPr>
              <a:defRPr sz="4000" b="1" i="1">
                <a:solidFill>
                  <a:schemeClr val="bg2"/>
                </a:solidFill>
              </a:defRPr>
            </a:lvl1pPr>
          </a:lstStyle>
          <a:p>
            <a:r>
              <a:rPr lang="fr-FR" sz="2000"/>
              <a:t>K</a:t>
            </a:r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F3044CFA-4341-5155-3EA3-E557A23FEA3A}"/>
              </a:ext>
            </a:extLst>
          </p:cNvPr>
          <p:cNvSpPr txBox="1"/>
          <p:nvPr userDrawn="1"/>
        </p:nvSpPr>
        <p:spPr>
          <a:xfrm>
            <a:off x="4995943" y="1075765"/>
            <a:ext cx="1874600" cy="2353236"/>
          </a:xfrm>
          <a:prstGeom prst="rect">
            <a:avLst/>
          </a:prstGeom>
          <a:noFill/>
          <a:ln>
            <a:solidFill>
              <a:schemeClr val="tx1">
                <a:lumMod val="65000"/>
                <a:lumOff val="35000"/>
              </a:schemeClr>
            </a:solidFill>
          </a:ln>
        </p:spPr>
        <p:txBody>
          <a:bodyPr wrap="none" rtlCol="0">
            <a:noAutofit/>
          </a:bodyPr>
          <a:lstStyle>
            <a:defPPr>
              <a:defRPr lang="fr-FR"/>
            </a:defPPr>
            <a:lvl1pPr>
              <a:defRPr sz="4000" b="1" i="1">
                <a:solidFill>
                  <a:schemeClr val="bg2"/>
                </a:solidFill>
              </a:defRPr>
            </a:lvl1pPr>
          </a:lstStyle>
          <a:p>
            <a:r>
              <a:rPr lang="fr-FR" sz="2000"/>
              <a:t>L</a:t>
            </a: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5C96347B-B2BE-AC13-5173-FB95E06C5260}"/>
              </a:ext>
            </a:extLst>
          </p:cNvPr>
          <p:cNvSpPr txBox="1"/>
          <p:nvPr userDrawn="1"/>
        </p:nvSpPr>
        <p:spPr>
          <a:xfrm>
            <a:off x="7301073" y="1075765"/>
            <a:ext cx="1874600" cy="2353236"/>
          </a:xfrm>
          <a:prstGeom prst="rect">
            <a:avLst/>
          </a:prstGeom>
          <a:noFill/>
          <a:ln>
            <a:solidFill>
              <a:schemeClr val="tx1">
                <a:lumMod val="65000"/>
                <a:lumOff val="35000"/>
              </a:schemeClr>
            </a:solidFill>
          </a:ln>
        </p:spPr>
        <p:txBody>
          <a:bodyPr wrap="none" rtlCol="0">
            <a:noAutofit/>
          </a:bodyPr>
          <a:lstStyle>
            <a:defPPr>
              <a:defRPr lang="fr-FR"/>
            </a:defPPr>
            <a:lvl1pPr>
              <a:defRPr sz="4000" b="1" i="1">
                <a:solidFill>
                  <a:schemeClr val="bg2"/>
                </a:solidFill>
              </a:defRPr>
            </a:lvl1pPr>
          </a:lstStyle>
          <a:p>
            <a:r>
              <a:rPr lang="fr-FR" sz="2000"/>
              <a:t>M</a:t>
            </a: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58F22A0E-4EED-1C83-9F76-84453D04D55F}"/>
              </a:ext>
            </a:extLst>
          </p:cNvPr>
          <p:cNvSpPr txBox="1"/>
          <p:nvPr userDrawn="1"/>
        </p:nvSpPr>
        <p:spPr>
          <a:xfrm>
            <a:off x="9606203" y="1075765"/>
            <a:ext cx="1874600" cy="2353236"/>
          </a:xfrm>
          <a:prstGeom prst="rect">
            <a:avLst/>
          </a:prstGeom>
          <a:noFill/>
          <a:ln>
            <a:solidFill>
              <a:schemeClr val="tx1">
                <a:lumMod val="65000"/>
                <a:lumOff val="35000"/>
              </a:schemeClr>
            </a:solidFill>
          </a:ln>
        </p:spPr>
        <p:txBody>
          <a:bodyPr wrap="none" rtlCol="0">
            <a:noAutofit/>
          </a:bodyPr>
          <a:lstStyle>
            <a:defPPr>
              <a:defRPr lang="fr-FR"/>
            </a:defPPr>
            <a:lvl1pPr>
              <a:defRPr sz="4000" b="1" i="1">
                <a:solidFill>
                  <a:schemeClr val="bg2"/>
                </a:solidFill>
              </a:defRPr>
            </a:lvl1pPr>
          </a:lstStyle>
          <a:p>
            <a:r>
              <a:rPr lang="fr-FR" sz="2000"/>
              <a:t>N</a:t>
            </a:r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id="{F1C8AB1A-BE7F-D718-8925-5099D3304D19}"/>
              </a:ext>
            </a:extLst>
          </p:cNvPr>
          <p:cNvSpPr txBox="1"/>
          <p:nvPr userDrawn="1"/>
        </p:nvSpPr>
        <p:spPr>
          <a:xfrm>
            <a:off x="385683" y="3693459"/>
            <a:ext cx="1874600" cy="2353236"/>
          </a:xfrm>
          <a:prstGeom prst="rect">
            <a:avLst/>
          </a:prstGeom>
          <a:noFill/>
          <a:ln>
            <a:solidFill>
              <a:schemeClr val="tx1">
                <a:lumMod val="65000"/>
                <a:lumOff val="35000"/>
              </a:schemeClr>
            </a:solidFill>
          </a:ln>
        </p:spPr>
        <p:txBody>
          <a:bodyPr wrap="none" rtlCol="0">
            <a:noAutofit/>
          </a:bodyPr>
          <a:lstStyle/>
          <a:p>
            <a:r>
              <a:rPr lang="fr-FR" sz="2000" b="1" i="1">
                <a:solidFill>
                  <a:schemeClr val="bg2"/>
                </a:solidFill>
              </a:rPr>
              <a:t>O</a:t>
            </a:r>
          </a:p>
        </p:txBody>
      </p:sp>
      <p:sp>
        <p:nvSpPr>
          <p:cNvPr id="9" name="ZoneTexte 8">
            <a:extLst>
              <a:ext uri="{FF2B5EF4-FFF2-40B4-BE49-F238E27FC236}">
                <a16:creationId xmlns:a16="http://schemas.microsoft.com/office/drawing/2014/main" id="{31764A62-01FE-9E2D-186F-4B3FD875E1FB}"/>
              </a:ext>
            </a:extLst>
          </p:cNvPr>
          <p:cNvSpPr txBox="1"/>
          <p:nvPr userDrawn="1"/>
        </p:nvSpPr>
        <p:spPr>
          <a:xfrm>
            <a:off x="2690813" y="3693459"/>
            <a:ext cx="1874600" cy="2353236"/>
          </a:xfrm>
          <a:prstGeom prst="rect">
            <a:avLst/>
          </a:prstGeom>
          <a:noFill/>
          <a:ln>
            <a:solidFill>
              <a:schemeClr val="tx1">
                <a:lumMod val="65000"/>
                <a:lumOff val="35000"/>
              </a:schemeClr>
            </a:solidFill>
          </a:ln>
        </p:spPr>
        <p:txBody>
          <a:bodyPr wrap="none" rtlCol="0">
            <a:noAutofit/>
          </a:bodyPr>
          <a:lstStyle>
            <a:defPPr>
              <a:defRPr lang="fr-FR"/>
            </a:defPPr>
            <a:lvl1pPr>
              <a:defRPr sz="4000" b="1" i="1">
                <a:solidFill>
                  <a:schemeClr val="bg2"/>
                </a:solidFill>
              </a:defRPr>
            </a:lvl1pPr>
          </a:lstStyle>
          <a:p>
            <a:r>
              <a:rPr lang="fr-FR" sz="2000"/>
              <a:t>P</a:t>
            </a:r>
          </a:p>
        </p:txBody>
      </p:sp>
      <p:sp>
        <p:nvSpPr>
          <p:cNvPr id="10" name="ZoneTexte 9">
            <a:extLst>
              <a:ext uri="{FF2B5EF4-FFF2-40B4-BE49-F238E27FC236}">
                <a16:creationId xmlns:a16="http://schemas.microsoft.com/office/drawing/2014/main" id="{18CF5221-0803-3D34-A3D0-3961CD8D3D3B}"/>
              </a:ext>
            </a:extLst>
          </p:cNvPr>
          <p:cNvSpPr txBox="1"/>
          <p:nvPr userDrawn="1"/>
        </p:nvSpPr>
        <p:spPr>
          <a:xfrm>
            <a:off x="4995943" y="3693459"/>
            <a:ext cx="1874600" cy="2353236"/>
          </a:xfrm>
          <a:prstGeom prst="rect">
            <a:avLst/>
          </a:prstGeom>
          <a:noFill/>
          <a:ln>
            <a:solidFill>
              <a:schemeClr val="tx1">
                <a:lumMod val="65000"/>
                <a:lumOff val="35000"/>
              </a:schemeClr>
            </a:solidFill>
          </a:ln>
        </p:spPr>
        <p:txBody>
          <a:bodyPr wrap="none" rtlCol="0">
            <a:noAutofit/>
          </a:bodyPr>
          <a:lstStyle>
            <a:defPPr>
              <a:defRPr lang="fr-FR"/>
            </a:defPPr>
            <a:lvl1pPr>
              <a:defRPr sz="4000" b="1" i="1">
                <a:solidFill>
                  <a:schemeClr val="bg2"/>
                </a:solidFill>
              </a:defRPr>
            </a:lvl1pPr>
          </a:lstStyle>
          <a:p>
            <a:r>
              <a:rPr lang="fr-FR" sz="2000"/>
              <a:t>Q</a:t>
            </a:r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39E4D87E-A594-5ECC-2CA9-81C8BACBCF3E}"/>
              </a:ext>
            </a:extLst>
          </p:cNvPr>
          <p:cNvSpPr txBox="1"/>
          <p:nvPr userDrawn="1"/>
        </p:nvSpPr>
        <p:spPr>
          <a:xfrm>
            <a:off x="7301073" y="3693459"/>
            <a:ext cx="1874600" cy="2353236"/>
          </a:xfrm>
          <a:prstGeom prst="rect">
            <a:avLst/>
          </a:prstGeom>
          <a:noFill/>
          <a:ln>
            <a:solidFill>
              <a:schemeClr val="tx1">
                <a:lumMod val="65000"/>
                <a:lumOff val="35000"/>
              </a:schemeClr>
            </a:solidFill>
          </a:ln>
        </p:spPr>
        <p:txBody>
          <a:bodyPr wrap="none" rtlCol="0">
            <a:noAutofit/>
          </a:bodyPr>
          <a:lstStyle>
            <a:defPPr>
              <a:defRPr lang="fr-FR"/>
            </a:defPPr>
            <a:lvl1pPr>
              <a:defRPr sz="4000" b="1" i="1">
                <a:solidFill>
                  <a:schemeClr val="bg2"/>
                </a:solidFill>
              </a:defRPr>
            </a:lvl1pPr>
          </a:lstStyle>
          <a:p>
            <a:r>
              <a:rPr lang="fr-FR" sz="2000"/>
              <a:t>R</a:t>
            </a:r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AB5B2D6C-5C94-874D-8F59-EDEE4FF0D7C1}"/>
              </a:ext>
            </a:extLst>
          </p:cNvPr>
          <p:cNvSpPr txBox="1"/>
          <p:nvPr userDrawn="1"/>
        </p:nvSpPr>
        <p:spPr>
          <a:xfrm>
            <a:off x="9606203" y="3693459"/>
            <a:ext cx="1874600" cy="2353236"/>
          </a:xfrm>
          <a:prstGeom prst="rect">
            <a:avLst/>
          </a:prstGeom>
          <a:noFill/>
          <a:ln>
            <a:solidFill>
              <a:schemeClr val="tx1">
                <a:lumMod val="65000"/>
                <a:lumOff val="35000"/>
              </a:schemeClr>
            </a:solidFill>
          </a:ln>
        </p:spPr>
        <p:txBody>
          <a:bodyPr wrap="none" rtlCol="0">
            <a:noAutofit/>
          </a:bodyPr>
          <a:lstStyle>
            <a:defPPr>
              <a:defRPr lang="fr-FR"/>
            </a:defPPr>
            <a:lvl1pPr>
              <a:defRPr sz="4000" b="1" i="1">
                <a:solidFill>
                  <a:schemeClr val="bg2"/>
                </a:solidFill>
              </a:defRPr>
            </a:lvl1pPr>
          </a:lstStyle>
          <a:p>
            <a:r>
              <a:rPr lang="fr-FR" sz="2000"/>
              <a:t>S</a:t>
            </a:r>
          </a:p>
        </p:txBody>
      </p:sp>
    </p:spTree>
    <p:extLst>
      <p:ext uri="{BB962C8B-B14F-4D97-AF65-F5344CB8AC3E}">
        <p14:creationId xmlns:p14="http://schemas.microsoft.com/office/powerpoint/2010/main" val="119158626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.Bibliothèque formes 2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oneTexte 2">
            <a:extLst>
              <a:ext uri="{FF2B5EF4-FFF2-40B4-BE49-F238E27FC236}">
                <a16:creationId xmlns:a16="http://schemas.microsoft.com/office/drawing/2014/main" id="{55C9035D-4263-50F5-E06B-B4981064B515}"/>
              </a:ext>
            </a:extLst>
          </p:cNvPr>
          <p:cNvSpPr txBox="1"/>
          <p:nvPr userDrawn="1"/>
        </p:nvSpPr>
        <p:spPr>
          <a:xfrm>
            <a:off x="385683" y="313765"/>
            <a:ext cx="7928930" cy="6309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750" i="1" cap="all" baseline="0">
                <a:solidFill>
                  <a:schemeClr val="accent1"/>
                </a:solidFill>
              </a:rPr>
              <a:t>BIBLIOTHÈQUE DE FORMES</a:t>
            </a:r>
          </a:p>
          <a:p>
            <a:pPr marL="228600" indent="-228600"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</a:pPr>
            <a:r>
              <a:rPr lang="fr-FR" sz="1750" i="1" cap="all" baseline="0">
                <a:solidFill>
                  <a:schemeClr val="bg2"/>
                </a:solidFill>
              </a:rPr>
              <a:t>alphabet de </a:t>
            </a:r>
            <a:r>
              <a:rPr lang="fr-FR" sz="1750" i="1" cap="all" baseline="0" err="1">
                <a:solidFill>
                  <a:schemeClr val="bg2"/>
                </a:solidFill>
              </a:rPr>
              <a:t>T</a:t>
            </a:r>
            <a:r>
              <a:rPr lang="fr-FR" sz="1750" i="1" cap="all" baseline="0">
                <a:solidFill>
                  <a:schemeClr val="bg2"/>
                </a:solidFill>
              </a:rPr>
              <a:t> &gt; Z</a:t>
            </a:r>
          </a:p>
        </p:txBody>
      </p:sp>
      <p:sp>
        <p:nvSpPr>
          <p:cNvPr id="2" name="ZoneTexte 1">
            <a:extLst>
              <a:ext uri="{FF2B5EF4-FFF2-40B4-BE49-F238E27FC236}">
                <a16:creationId xmlns:a16="http://schemas.microsoft.com/office/drawing/2014/main" id="{720CDEE0-0E1F-653B-387F-31A024580F04}"/>
              </a:ext>
            </a:extLst>
          </p:cNvPr>
          <p:cNvSpPr txBox="1"/>
          <p:nvPr userDrawn="1"/>
        </p:nvSpPr>
        <p:spPr>
          <a:xfrm>
            <a:off x="385683" y="1075765"/>
            <a:ext cx="1874600" cy="2353236"/>
          </a:xfrm>
          <a:prstGeom prst="rect">
            <a:avLst/>
          </a:prstGeom>
          <a:noFill/>
          <a:ln>
            <a:solidFill>
              <a:schemeClr val="tx1">
                <a:lumMod val="65000"/>
                <a:lumOff val="35000"/>
              </a:schemeClr>
            </a:solidFill>
          </a:ln>
        </p:spPr>
        <p:txBody>
          <a:bodyPr wrap="none" rtlCol="0">
            <a:noAutofit/>
          </a:bodyPr>
          <a:lstStyle/>
          <a:p>
            <a:r>
              <a:rPr lang="fr-FR" sz="2000" b="1" i="1" err="1">
                <a:solidFill>
                  <a:schemeClr val="bg2"/>
                </a:solidFill>
              </a:rPr>
              <a:t>T</a:t>
            </a:r>
            <a:endParaRPr lang="fr-FR" sz="2000" b="1" i="1">
              <a:solidFill>
                <a:schemeClr val="bg2"/>
              </a:solidFill>
            </a:endParaRPr>
          </a:p>
        </p:txBody>
      </p:sp>
      <p:sp>
        <p:nvSpPr>
          <p:cNvPr id="4" name="ZoneTexte 3">
            <a:extLst>
              <a:ext uri="{FF2B5EF4-FFF2-40B4-BE49-F238E27FC236}">
                <a16:creationId xmlns:a16="http://schemas.microsoft.com/office/drawing/2014/main" id="{1FECA8AF-638D-814C-D575-89326F924730}"/>
              </a:ext>
            </a:extLst>
          </p:cNvPr>
          <p:cNvSpPr txBox="1"/>
          <p:nvPr userDrawn="1"/>
        </p:nvSpPr>
        <p:spPr>
          <a:xfrm>
            <a:off x="2690813" y="1075765"/>
            <a:ext cx="1874600" cy="2353236"/>
          </a:xfrm>
          <a:prstGeom prst="rect">
            <a:avLst/>
          </a:prstGeom>
          <a:noFill/>
          <a:ln>
            <a:solidFill>
              <a:schemeClr val="tx1">
                <a:lumMod val="65000"/>
                <a:lumOff val="35000"/>
              </a:schemeClr>
            </a:solidFill>
          </a:ln>
        </p:spPr>
        <p:txBody>
          <a:bodyPr wrap="none" rtlCol="0">
            <a:noAutofit/>
          </a:bodyPr>
          <a:lstStyle>
            <a:defPPr>
              <a:defRPr lang="fr-FR"/>
            </a:defPPr>
            <a:lvl1pPr>
              <a:defRPr sz="4000" b="1" i="1">
                <a:solidFill>
                  <a:schemeClr val="bg2"/>
                </a:solidFill>
              </a:defRPr>
            </a:lvl1pPr>
          </a:lstStyle>
          <a:p>
            <a:r>
              <a:rPr lang="fr-FR" sz="2000"/>
              <a:t>U</a:t>
            </a:r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F3044CFA-4341-5155-3EA3-E557A23FEA3A}"/>
              </a:ext>
            </a:extLst>
          </p:cNvPr>
          <p:cNvSpPr txBox="1"/>
          <p:nvPr userDrawn="1"/>
        </p:nvSpPr>
        <p:spPr>
          <a:xfrm>
            <a:off x="4995943" y="1075765"/>
            <a:ext cx="1874600" cy="2353236"/>
          </a:xfrm>
          <a:prstGeom prst="rect">
            <a:avLst/>
          </a:prstGeom>
          <a:noFill/>
          <a:ln>
            <a:solidFill>
              <a:schemeClr val="tx1">
                <a:lumMod val="65000"/>
                <a:lumOff val="35000"/>
              </a:schemeClr>
            </a:solidFill>
          </a:ln>
        </p:spPr>
        <p:txBody>
          <a:bodyPr wrap="none" rtlCol="0">
            <a:noAutofit/>
          </a:bodyPr>
          <a:lstStyle>
            <a:defPPr>
              <a:defRPr lang="fr-FR"/>
            </a:defPPr>
            <a:lvl1pPr>
              <a:defRPr sz="4000" b="1" i="1">
                <a:solidFill>
                  <a:schemeClr val="bg2"/>
                </a:solidFill>
              </a:defRPr>
            </a:lvl1pPr>
          </a:lstStyle>
          <a:p>
            <a:r>
              <a:rPr lang="fr-FR" sz="2000"/>
              <a:t>V</a:t>
            </a: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5C96347B-B2BE-AC13-5173-FB95E06C5260}"/>
              </a:ext>
            </a:extLst>
          </p:cNvPr>
          <p:cNvSpPr txBox="1"/>
          <p:nvPr userDrawn="1"/>
        </p:nvSpPr>
        <p:spPr>
          <a:xfrm>
            <a:off x="7301073" y="1075765"/>
            <a:ext cx="1874600" cy="2353236"/>
          </a:xfrm>
          <a:prstGeom prst="rect">
            <a:avLst/>
          </a:prstGeom>
          <a:noFill/>
          <a:ln>
            <a:solidFill>
              <a:schemeClr val="tx1">
                <a:lumMod val="65000"/>
                <a:lumOff val="35000"/>
              </a:schemeClr>
            </a:solidFill>
          </a:ln>
        </p:spPr>
        <p:txBody>
          <a:bodyPr wrap="none" rtlCol="0">
            <a:noAutofit/>
          </a:bodyPr>
          <a:lstStyle>
            <a:defPPr>
              <a:defRPr lang="fr-FR"/>
            </a:defPPr>
            <a:lvl1pPr>
              <a:defRPr sz="4000" b="1" i="1">
                <a:solidFill>
                  <a:schemeClr val="bg2"/>
                </a:solidFill>
              </a:defRPr>
            </a:lvl1pPr>
          </a:lstStyle>
          <a:p>
            <a:r>
              <a:rPr lang="fr-FR" sz="2000"/>
              <a:t>W</a:t>
            </a: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58F22A0E-4EED-1C83-9F76-84453D04D55F}"/>
              </a:ext>
            </a:extLst>
          </p:cNvPr>
          <p:cNvSpPr txBox="1"/>
          <p:nvPr userDrawn="1"/>
        </p:nvSpPr>
        <p:spPr>
          <a:xfrm>
            <a:off x="9606203" y="1075765"/>
            <a:ext cx="1874600" cy="2353236"/>
          </a:xfrm>
          <a:prstGeom prst="rect">
            <a:avLst/>
          </a:prstGeom>
          <a:noFill/>
          <a:ln>
            <a:solidFill>
              <a:schemeClr val="tx1">
                <a:lumMod val="65000"/>
                <a:lumOff val="35000"/>
              </a:schemeClr>
            </a:solidFill>
          </a:ln>
        </p:spPr>
        <p:txBody>
          <a:bodyPr wrap="none" rtlCol="0">
            <a:noAutofit/>
          </a:bodyPr>
          <a:lstStyle>
            <a:defPPr>
              <a:defRPr lang="fr-FR"/>
            </a:defPPr>
            <a:lvl1pPr>
              <a:defRPr sz="4000" b="1" i="1">
                <a:solidFill>
                  <a:schemeClr val="bg2"/>
                </a:solidFill>
              </a:defRPr>
            </a:lvl1pPr>
          </a:lstStyle>
          <a:p>
            <a:r>
              <a:rPr lang="fr-FR" sz="2000"/>
              <a:t>X</a:t>
            </a:r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id="{F1C8AB1A-BE7F-D718-8925-5099D3304D19}"/>
              </a:ext>
            </a:extLst>
          </p:cNvPr>
          <p:cNvSpPr txBox="1"/>
          <p:nvPr userDrawn="1"/>
        </p:nvSpPr>
        <p:spPr>
          <a:xfrm>
            <a:off x="385683" y="3693459"/>
            <a:ext cx="1874600" cy="2353236"/>
          </a:xfrm>
          <a:prstGeom prst="rect">
            <a:avLst/>
          </a:prstGeom>
          <a:noFill/>
          <a:ln>
            <a:solidFill>
              <a:schemeClr val="tx1">
                <a:lumMod val="65000"/>
                <a:lumOff val="35000"/>
              </a:schemeClr>
            </a:solidFill>
          </a:ln>
        </p:spPr>
        <p:txBody>
          <a:bodyPr wrap="none" rtlCol="0">
            <a:noAutofit/>
          </a:bodyPr>
          <a:lstStyle/>
          <a:p>
            <a:r>
              <a:rPr lang="fr-FR" sz="2000" b="1" i="1">
                <a:solidFill>
                  <a:schemeClr val="bg2"/>
                </a:solidFill>
              </a:rPr>
              <a:t>Y</a:t>
            </a:r>
          </a:p>
        </p:txBody>
      </p:sp>
      <p:sp>
        <p:nvSpPr>
          <p:cNvPr id="9" name="ZoneTexte 8">
            <a:extLst>
              <a:ext uri="{FF2B5EF4-FFF2-40B4-BE49-F238E27FC236}">
                <a16:creationId xmlns:a16="http://schemas.microsoft.com/office/drawing/2014/main" id="{31764A62-01FE-9E2D-186F-4B3FD875E1FB}"/>
              </a:ext>
            </a:extLst>
          </p:cNvPr>
          <p:cNvSpPr txBox="1"/>
          <p:nvPr userDrawn="1"/>
        </p:nvSpPr>
        <p:spPr>
          <a:xfrm>
            <a:off x="2690813" y="3693459"/>
            <a:ext cx="1874600" cy="2353236"/>
          </a:xfrm>
          <a:prstGeom prst="rect">
            <a:avLst/>
          </a:prstGeom>
          <a:noFill/>
          <a:ln>
            <a:solidFill>
              <a:schemeClr val="tx1">
                <a:lumMod val="65000"/>
                <a:lumOff val="35000"/>
              </a:schemeClr>
            </a:solidFill>
          </a:ln>
        </p:spPr>
        <p:txBody>
          <a:bodyPr wrap="none" rtlCol="0">
            <a:noAutofit/>
          </a:bodyPr>
          <a:lstStyle>
            <a:defPPr>
              <a:defRPr lang="fr-FR"/>
            </a:defPPr>
            <a:lvl1pPr>
              <a:defRPr sz="4000" b="1" i="1">
                <a:solidFill>
                  <a:schemeClr val="bg2"/>
                </a:solidFill>
              </a:defRPr>
            </a:lvl1pPr>
          </a:lstStyle>
          <a:p>
            <a:r>
              <a:rPr lang="fr-FR" sz="2000"/>
              <a:t>Z</a:t>
            </a:r>
          </a:p>
        </p:txBody>
      </p:sp>
    </p:spTree>
    <p:extLst>
      <p:ext uri="{BB962C8B-B14F-4D97-AF65-F5344CB8AC3E}">
        <p14:creationId xmlns:p14="http://schemas.microsoft.com/office/powerpoint/2010/main" val="108299297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 100pts bl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DDF7A4C2-C8EF-1CD7-6D73-DA22B6F935B3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DF342B73-D2B7-D248-96C4-EBEEB6DE26CD}" type="datetimeFigureOut">
              <a:rPr lang="fr-FR" smtClean="0"/>
              <a:pPr/>
              <a:t>04/03/2026</a:t>
            </a:fld>
            <a:endParaRPr lang="fr-FR"/>
          </a:p>
        </p:txBody>
      </p:sp>
      <p:sp>
        <p:nvSpPr>
          <p:cNvPr id="9" name="Espace réservé du pied de page 8">
            <a:extLst>
              <a:ext uri="{FF2B5EF4-FFF2-40B4-BE49-F238E27FC236}">
                <a16:creationId xmlns:a16="http://schemas.microsoft.com/office/drawing/2014/main" id="{045347DB-40B0-8349-981E-7A5BFFDDF2F5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fr-FR"/>
              <a:t>-   confidentiel   -</a:t>
            </a:r>
          </a:p>
        </p:txBody>
      </p:sp>
      <p:sp>
        <p:nvSpPr>
          <p:cNvPr id="10" name="Espace réservé du numéro de diapositive 9">
            <a:extLst>
              <a:ext uri="{FF2B5EF4-FFF2-40B4-BE49-F238E27FC236}">
                <a16:creationId xmlns:a16="http://schemas.microsoft.com/office/drawing/2014/main" id="{4ECA8CBF-A7C8-78F3-F0BF-DBCB1C41A38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EAA21038-A716-1548-A84E-A957E2BC7F1C}" type="slidenum">
              <a:rPr lang="fr-FR" smtClean="0"/>
              <a:pPr/>
              <a:t>‹#›</a:t>
            </a:fld>
            <a:endParaRPr lang="fr-FR"/>
          </a:p>
        </p:txBody>
      </p:sp>
      <p:sp>
        <p:nvSpPr>
          <p:cNvPr id="11" name="Titre 10">
            <a:extLst>
              <a:ext uri="{FF2B5EF4-FFF2-40B4-BE49-F238E27FC236}">
                <a16:creationId xmlns:a16="http://schemas.microsoft.com/office/drawing/2014/main" id="{684CA360-D9C5-FCDD-D621-2226D08687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37339" y="2390254"/>
            <a:ext cx="6517322" cy="2077492"/>
          </a:xfrm>
        </p:spPr>
        <p:txBody>
          <a:bodyPr wrap="square" anchor="ctr">
            <a:spAutoFit/>
          </a:bodyPr>
          <a:lstStyle>
            <a:lvl1pPr algn="l">
              <a:lnSpc>
                <a:spcPct val="90000"/>
              </a:lnSpc>
              <a:defRPr sz="5000" b="1">
                <a:solidFill>
                  <a:schemeClr val="bg2"/>
                </a:solidFill>
              </a:defRPr>
            </a:lvl1pPr>
          </a:lstStyle>
          <a:p>
            <a:r>
              <a:rPr lang="fr-FR"/>
              <a:t>titre du chapitre</a:t>
            </a:r>
            <a:br>
              <a:rPr lang="fr-FR"/>
            </a:br>
            <a:r>
              <a:rPr lang="fr-FR"/>
              <a:t>sur 3 lignes</a:t>
            </a:r>
            <a:br>
              <a:rPr lang="fr-FR"/>
            </a:br>
            <a:r>
              <a:rPr lang="fr-FR"/>
              <a:t>maximum</a:t>
            </a:r>
          </a:p>
        </p:txBody>
      </p:sp>
    </p:spTree>
    <p:extLst>
      <p:ext uri="{BB962C8B-B14F-4D97-AF65-F5344CB8AC3E}">
        <p14:creationId xmlns:p14="http://schemas.microsoft.com/office/powerpoint/2010/main" val="44757232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.Chap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0A4D5FB8-E879-E7DA-082D-CD1F811D891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977643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01" imgH="500" progId="TCLayout.ActiveDocument.1">
                  <p:embed/>
                </p:oleObj>
              </mc:Choice>
              <mc:Fallback>
                <p:oleObj name="Diapositive think-cell" r:id="rId3" imgW="501" imgH="50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A4D5FB8-E879-E7DA-082D-CD1F811D89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>
            <a:extLst>
              <a:ext uri="{FF2B5EF4-FFF2-40B4-BE49-F238E27FC236}">
                <a16:creationId xmlns:a16="http://schemas.microsoft.com/office/drawing/2014/main" id="{D1E460E2-5CF1-EB32-5430-F3FBE88AFE1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788886" y="2736503"/>
            <a:ext cx="6614229" cy="1384995"/>
          </a:xfrm>
        </p:spPr>
        <p:txBody>
          <a:bodyPr vert="horz" wrap="square"/>
          <a:lstStyle>
            <a:lvl1pPr rtl="0">
              <a:defRPr sz="5000" b="1" i="1">
                <a:latin typeface="Canal+" pitchFamily="2" charset="77"/>
              </a:defRPr>
            </a:lvl1pPr>
          </a:lstStyle>
          <a:p>
            <a:r>
              <a:rPr lang="fr-FR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1030244101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7F9DEDEA-198F-BB2A-219E-E678E41355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23E905AB-9AB4-A21B-A1F0-54986DA6839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C2527ADE-00A4-F267-4BB6-15DEE7EA0ED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DACB24-2345-44DA-BB5B-87DB99945E60}" type="datetimeFigureOut">
              <a:rPr lang="fr-FR" smtClean="0"/>
              <a:t>04/03/2026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0F7C143B-77AB-193A-D108-1E4C863DBEB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3A04B214-BB18-73EE-FAF2-58AA8A80F3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35158A-3427-49FB-86F9-09DD50D63C78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96447610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F84F2F06-B356-ABF8-BC18-AD0F4C33E10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4514EAA7-C3CA-5560-5778-FE080A0DABA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</a:p>
        </p:txBody>
      </p:sp>
      <p:sp>
        <p:nvSpPr>
          <p:cNvPr id="7" name="Espace réservé du numéro de diapositive 2">
            <a:extLst>
              <a:ext uri="{FF2B5EF4-FFF2-40B4-BE49-F238E27FC236}">
                <a16:creationId xmlns:a16="http://schemas.microsoft.com/office/drawing/2014/main" id="{00573307-4574-41EA-C07A-5984E683075B}"/>
              </a:ext>
            </a:extLst>
          </p:cNvPr>
          <p:cNvSpPr txBox="1">
            <a:spLocks/>
          </p:cNvSpPr>
          <p:nvPr userDrawn="1"/>
        </p:nvSpPr>
        <p:spPr>
          <a:xfrm>
            <a:off x="9324544" y="6401175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fr-FR"/>
            </a:defPPr>
            <a:lvl1pPr marL="0" algn="r" defTabSz="914400" rtl="0" eaLnBrk="1" latinLnBrk="0" hangingPunct="1">
              <a:defRPr sz="900" kern="1200">
                <a:solidFill>
                  <a:schemeClr val="tx1">
                    <a:tint val="75000"/>
                  </a:schemeClr>
                </a:solidFill>
                <a:latin typeface="Canal+Dem" pitchFamily="50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07D343F-C6AC-477C-9362-8C7187ED0167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nal+Dem" pitchFamily="50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nal+Dem" pitchFamily="50" charset="0"/>
              <a:ea typeface="+mn-ea"/>
              <a:cs typeface="+mn-cs"/>
            </a:endParaRPr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DE7A5B5B-E952-10EA-EAD1-4251C5450D36}"/>
              </a:ext>
            </a:extLst>
          </p:cNvPr>
          <p:cNvSpPr txBox="1"/>
          <p:nvPr userDrawn="1"/>
        </p:nvSpPr>
        <p:spPr>
          <a:xfrm>
            <a:off x="224913" y="6460626"/>
            <a:ext cx="192191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i="1">
                <a:solidFill>
                  <a:schemeClr val="bg1">
                    <a:lumMod val="50000"/>
                  </a:schemeClr>
                </a:solidFill>
                <a:latin typeface="Canal+" pitchFamily="50" charset="0"/>
              </a:rPr>
              <a:t>CONFIDENTIEL</a:t>
            </a:r>
          </a:p>
        </p:txBody>
      </p:sp>
    </p:spTree>
    <p:extLst>
      <p:ext uri="{BB962C8B-B14F-4D97-AF65-F5344CB8AC3E}">
        <p14:creationId xmlns:p14="http://schemas.microsoft.com/office/powerpoint/2010/main" val="2326841883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548E5D44-FCC6-4659-F633-E0D1937CA8B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04C401C-2A51-4472-832D-1130A3467737}" type="datetimeFigureOut">
              <a:rPr lang="fr-FR" smtClean="0"/>
              <a:t>04/03/2026</a:t>
            </a:fld>
            <a:endParaRPr lang="fr-FR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96A4A916-E16C-9F4C-EB2B-EF424E8AEED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1BBEFAEB-AF6D-CBDA-B66A-1C0CAED92C7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C09698-0F90-4F85-A71F-0B0C0EE2D7A2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29538583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hap 100pts ble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10">
            <a:extLst>
              <a:ext uri="{FF2B5EF4-FFF2-40B4-BE49-F238E27FC236}">
                <a16:creationId xmlns:a16="http://schemas.microsoft.com/office/drawing/2014/main" id="{4F66880E-B985-0F98-CEB9-5CF1C55ECC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55278" y="2390254"/>
            <a:ext cx="6481445" cy="2077492"/>
          </a:xfrm>
        </p:spPr>
        <p:txBody>
          <a:bodyPr wrap="square" anchor="ctr"/>
          <a:lstStyle>
            <a:lvl1pPr algn="l">
              <a:lnSpc>
                <a:spcPct val="90000"/>
              </a:lnSpc>
              <a:defRPr sz="5000" b="1">
                <a:solidFill>
                  <a:schemeClr val="accent1"/>
                </a:solidFill>
              </a:defRPr>
            </a:lvl1pPr>
          </a:lstStyle>
          <a:p>
            <a:r>
              <a:rPr lang="fr-FR"/>
              <a:t>titre du chapitre</a:t>
            </a:r>
            <a:br>
              <a:rPr lang="fr-FR"/>
            </a:br>
            <a:r>
              <a:rPr lang="fr-FR"/>
              <a:t>sur 3 lignes</a:t>
            </a:r>
            <a:br>
              <a:rPr lang="fr-FR"/>
            </a:br>
            <a:r>
              <a:rPr lang="fr-FR"/>
              <a:t>maximum</a:t>
            </a:r>
          </a:p>
        </p:txBody>
      </p:sp>
      <p:sp>
        <p:nvSpPr>
          <p:cNvPr id="8" name="Espace réservé de la date 7">
            <a:extLst>
              <a:ext uri="{FF2B5EF4-FFF2-40B4-BE49-F238E27FC236}">
                <a16:creationId xmlns:a16="http://schemas.microsoft.com/office/drawing/2014/main" id="{3352FC11-3366-DB7D-7F9B-04BED92914C2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DF342B73-D2B7-D248-96C4-EBEEB6DE26CD}" type="datetimeFigureOut">
              <a:rPr lang="fr-FR" smtClean="0"/>
              <a:pPr/>
              <a:t>04/03/2026</a:t>
            </a:fld>
            <a:endParaRPr lang="fr-FR"/>
          </a:p>
        </p:txBody>
      </p:sp>
      <p:sp>
        <p:nvSpPr>
          <p:cNvPr id="10" name="Espace réservé du pied de page 9">
            <a:extLst>
              <a:ext uri="{FF2B5EF4-FFF2-40B4-BE49-F238E27FC236}">
                <a16:creationId xmlns:a16="http://schemas.microsoft.com/office/drawing/2014/main" id="{8AA4EDCD-71C8-8B0D-9891-B91644C158E4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fr-FR"/>
              <a:t>-   confidentiel   -</a:t>
            </a:r>
          </a:p>
        </p:txBody>
      </p:sp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2DA59E92-219B-6B3D-9320-2690396600D0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EAA21038-A716-1548-A84E-A957E2BC7F1C}" type="slidenum">
              <a:rPr lang="fr-FR" smtClean="0"/>
              <a:pPr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09438643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 100pts 60pts blc ble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EF139468-F784-E318-4548-607AA42E469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887923" y="2567980"/>
            <a:ext cx="6416155" cy="1133644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lvl1pPr marL="0" indent="0">
              <a:lnSpc>
                <a:spcPct val="90000"/>
              </a:lnSpc>
              <a:spcAft>
                <a:spcPts val="200"/>
              </a:spcAft>
              <a:buFontTx/>
              <a:buNone/>
              <a:defRPr sz="5000" b="1" i="1" cap="all" baseline="0">
                <a:solidFill>
                  <a:schemeClr val="bg2"/>
                </a:solidFill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buNone/>
              <a:defRPr sz="3000" b="1" i="1" cap="all">
                <a:solidFill>
                  <a:schemeClr val="accent1"/>
                </a:solidFill>
              </a:defRPr>
            </a:lvl2pPr>
          </a:lstStyle>
          <a:p>
            <a:pPr lvl="0"/>
            <a:r>
              <a:rPr lang="en-US" err="1"/>
              <a:t>titre</a:t>
            </a:r>
            <a:r>
              <a:rPr lang="en-US"/>
              <a:t> du </a:t>
            </a:r>
            <a:r>
              <a:rPr lang="en-US" err="1"/>
              <a:t>chapitre</a:t>
            </a:r>
            <a:endParaRPr lang="en-US"/>
          </a:p>
          <a:p>
            <a:pPr lvl="1"/>
            <a:r>
              <a:rPr lang="en-US"/>
              <a:t>sous-</a:t>
            </a:r>
            <a:r>
              <a:rPr lang="en-US" err="1"/>
              <a:t>titre</a:t>
            </a:r>
            <a:r>
              <a:rPr lang="en-US"/>
              <a:t> du </a:t>
            </a:r>
            <a:r>
              <a:rPr lang="en-US" err="1"/>
              <a:t>chapitre</a:t>
            </a:r>
            <a:endParaRPr lang="en-US"/>
          </a:p>
        </p:txBody>
      </p:sp>
      <p:sp>
        <p:nvSpPr>
          <p:cNvPr id="7" name="Espace réservé de la date 6">
            <a:extLst>
              <a:ext uri="{FF2B5EF4-FFF2-40B4-BE49-F238E27FC236}">
                <a16:creationId xmlns:a16="http://schemas.microsoft.com/office/drawing/2014/main" id="{6F3A0E39-5201-AF73-5ED7-CFE7861BDA68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DF342B73-D2B7-D248-96C4-EBEEB6DE26CD}" type="datetimeFigureOut">
              <a:rPr lang="fr-FR" smtClean="0"/>
              <a:pPr/>
              <a:t>04/03/2026</a:t>
            </a:fld>
            <a:endParaRPr lang="fr-FR"/>
          </a:p>
        </p:txBody>
      </p:sp>
      <p:sp>
        <p:nvSpPr>
          <p:cNvPr id="9" name="Espace réservé du pied de page 8">
            <a:extLst>
              <a:ext uri="{FF2B5EF4-FFF2-40B4-BE49-F238E27FC236}">
                <a16:creationId xmlns:a16="http://schemas.microsoft.com/office/drawing/2014/main" id="{13704DDF-98BB-DA57-A041-DDCC9461329A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fr-FR"/>
              <a:t>-   confidentiel   -</a:t>
            </a:r>
          </a:p>
        </p:txBody>
      </p:sp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A6EB9744-88A1-2FC6-2AA4-48A319386963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EAA21038-A716-1548-A84E-A957E2BC7F1C}" type="slidenum">
              <a:rPr lang="fr-FR" smtClean="0"/>
              <a:pPr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13806094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ard members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pour une image  5">
            <a:extLst>
              <a:ext uri="{FF2B5EF4-FFF2-40B4-BE49-F238E27FC236}">
                <a16:creationId xmlns:a16="http://schemas.microsoft.com/office/drawing/2014/main" id="{CBBBB635-8ED5-997E-93F6-58257C4AF335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2602356" y="1776600"/>
            <a:ext cx="3493819" cy="3981600"/>
          </a:xfrm>
          <a:prstGeom prst="rect">
            <a:avLst/>
          </a:prstGeom>
        </p:spPr>
        <p:txBody>
          <a:bodyPr vert="horz" lIns="180000" tIns="0" rIns="0" bIns="0" rtlCol="0">
            <a:noAutofit/>
          </a:bodyPr>
          <a:lstStyle>
            <a:lvl1pPr>
              <a:defRPr lang="fr-FR" sz="1000" b="1" cap="all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pPr marL="0" marR="0" lvl="0" indent="0" algn="l" defTabSz="456972" rtl="0" eaLnBrk="1" fontAlgn="auto" latinLnBrk="0" hangingPunct="1">
              <a:lnSpc>
                <a:spcPts val="1750"/>
              </a:lnSpc>
              <a:spcBef>
                <a:spcPts val="0"/>
              </a:spcBef>
              <a:spcAft>
                <a:spcPts val="0"/>
              </a:spcAft>
              <a:buClrTx/>
              <a:buSzPct val="80000"/>
              <a:buFontTx/>
              <a:buNone/>
              <a:tabLst/>
              <a:defRPr/>
            </a:pPr>
            <a:r>
              <a:rPr lang="fr-FR"/>
              <a:t>Photo portrait</a:t>
            </a:r>
          </a:p>
        </p:txBody>
      </p:sp>
      <p:sp>
        <p:nvSpPr>
          <p:cNvPr id="15" name="Espace réservé de la date 14">
            <a:extLst>
              <a:ext uri="{FF2B5EF4-FFF2-40B4-BE49-F238E27FC236}">
                <a16:creationId xmlns:a16="http://schemas.microsoft.com/office/drawing/2014/main" id="{F1B832D6-8E68-60B9-A6AF-2F3DAE50CFB7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DF342B73-D2B7-D248-96C4-EBEEB6DE26CD}" type="datetimeFigureOut">
              <a:rPr lang="fr-FR" smtClean="0"/>
              <a:pPr/>
              <a:t>04/03/2026</a:t>
            </a:fld>
            <a:endParaRPr lang="fr-FR"/>
          </a:p>
        </p:txBody>
      </p:sp>
      <p:sp>
        <p:nvSpPr>
          <p:cNvPr id="16" name="Espace réservé du pied de page 15">
            <a:extLst>
              <a:ext uri="{FF2B5EF4-FFF2-40B4-BE49-F238E27FC236}">
                <a16:creationId xmlns:a16="http://schemas.microsoft.com/office/drawing/2014/main" id="{046D0B5A-2C3A-E167-808E-8D55EE6EE8D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fr-FR"/>
              <a:t>-   confidentiel   -</a:t>
            </a:r>
          </a:p>
        </p:txBody>
      </p:sp>
      <p:sp>
        <p:nvSpPr>
          <p:cNvPr id="17" name="Espace réservé du numéro de diapositive 16">
            <a:extLst>
              <a:ext uri="{FF2B5EF4-FFF2-40B4-BE49-F238E27FC236}">
                <a16:creationId xmlns:a16="http://schemas.microsoft.com/office/drawing/2014/main" id="{394F34D7-71A8-14E0-4935-464E6FB732A0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EAA21038-A716-1548-A84E-A957E2BC7F1C}" type="slidenum">
              <a:rPr lang="fr-FR" smtClean="0"/>
              <a:pPr/>
              <a:t>‹#›</a:t>
            </a:fld>
            <a:endParaRPr lang="fr-FR"/>
          </a:p>
        </p:txBody>
      </p:sp>
      <p:sp>
        <p:nvSpPr>
          <p:cNvPr id="18" name="Titre 17">
            <a:extLst>
              <a:ext uri="{FF2B5EF4-FFF2-40B4-BE49-F238E27FC236}">
                <a16:creationId xmlns:a16="http://schemas.microsoft.com/office/drawing/2014/main" id="{461D2171-6713-7845-C702-8FEAFFBE2AA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035" y="360000"/>
            <a:ext cx="11427931" cy="276999"/>
          </a:xfrm>
        </p:spPr>
        <p:txBody>
          <a:bodyPr/>
          <a:lstStyle>
            <a:lvl1pPr>
              <a:defRPr sz="2000" b="0"/>
            </a:lvl1pPr>
          </a:lstStyle>
          <a:p>
            <a:r>
              <a:rPr lang="fr-FR"/>
              <a:t>TITRE DE LA SLIDE</a:t>
            </a:r>
          </a:p>
        </p:txBody>
      </p:sp>
      <p:sp>
        <p:nvSpPr>
          <p:cNvPr id="8" name="Espace réservé du texte 17">
            <a:extLst>
              <a:ext uri="{FF2B5EF4-FFF2-40B4-BE49-F238E27FC236}">
                <a16:creationId xmlns:a16="http://schemas.microsoft.com/office/drawing/2014/main" id="{D5E6247E-2A15-1C8E-5D99-0CAF4F127C5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273897" y="4788705"/>
            <a:ext cx="2744976" cy="969496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sz="1400" b="0">
                <a:solidFill>
                  <a:schemeClr val="bg1"/>
                </a:solidFill>
              </a:defRPr>
            </a:lvl1pPr>
          </a:lstStyle>
          <a:p>
            <a:pPr lvl="5"/>
            <a:r>
              <a:rPr lang="fr-FR"/>
              <a:t>prénom</a:t>
            </a:r>
          </a:p>
          <a:p>
            <a:pPr lvl="5"/>
            <a:r>
              <a:rPr lang="fr-FR"/>
              <a:t>nom</a:t>
            </a:r>
          </a:p>
          <a:p>
            <a:pPr lvl="0"/>
            <a:r>
              <a:rPr lang="fr-FR"/>
              <a:t>POSTE</a:t>
            </a:r>
          </a:p>
        </p:txBody>
      </p:sp>
    </p:spTree>
    <p:extLst>
      <p:ext uri="{BB962C8B-B14F-4D97-AF65-F5344CB8AC3E}">
        <p14:creationId xmlns:p14="http://schemas.microsoft.com/office/powerpoint/2010/main" val="94479978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ard member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pour une image  5">
            <a:extLst>
              <a:ext uri="{FF2B5EF4-FFF2-40B4-BE49-F238E27FC236}">
                <a16:creationId xmlns:a16="http://schemas.microsoft.com/office/drawing/2014/main" id="{B459A31B-FD1B-C4E9-148C-D2F8600B76CA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2478091" y="1953000"/>
            <a:ext cx="1948615" cy="2221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fr-FR" sz="1000" b="1" cap="all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pPr marL="0" marR="0" lvl="0" indent="0" algn="l" defTabSz="456972" rtl="0" eaLnBrk="1" fontAlgn="auto" latinLnBrk="0" hangingPunct="1">
              <a:lnSpc>
                <a:spcPts val="1750"/>
              </a:lnSpc>
              <a:spcBef>
                <a:spcPts val="0"/>
              </a:spcBef>
              <a:spcAft>
                <a:spcPts val="0"/>
              </a:spcAft>
              <a:buClrTx/>
              <a:buSzPct val="80000"/>
              <a:buFontTx/>
              <a:buNone/>
              <a:tabLst/>
              <a:defRPr/>
            </a:pPr>
            <a:r>
              <a:rPr lang="fr-FR"/>
              <a:t>Photo portrait</a:t>
            </a:r>
          </a:p>
        </p:txBody>
      </p:sp>
      <p:sp>
        <p:nvSpPr>
          <p:cNvPr id="3" name="Espace réservé pour une image  5">
            <a:extLst>
              <a:ext uri="{FF2B5EF4-FFF2-40B4-BE49-F238E27FC236}">
                <a16:creationId xmlns:a16="http://schemas.microsoft.com/office/drawing/2014/main" id="{CBBBB635-8ED5-997E-93F6-58257C4AF335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5121868" y="1953000"/>
            <a:ext cx="1948615" cy="2221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fr-FR" sz="1000" b="1" cap="all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pPr marL="0" marR="0" lvl="0" indent="0" algn="l" defTabSz="456972" rtl="0" eaLnBrk="1" fontAlgn="auto" latinLnBrk="0" hangingPunct="1">
              <a:lnSpc>
                <a:spcPts val="1750"/>
              </a:lnSpc>
              <a:spcBef>
                <a:spcPts val="0"/>
              </a:spcBef>
              <a:spcAft>
                <a:spcPts val="0"/>
              </a:spcAft>
              <a:buClrTx/>
              <a:buSzPct val="80000"/>
              <a:buFontTx/>
              <a:buNone/>
              <a:tabLst/>
              <a:defRPr/>
            </a:pPr>
            <a:r>
              <a:rPr lang="fr-FR"/>
              <a:t>Photo portrait</a:t>
            </a:r>
          </a:p>
        </p:txBody>
      </p:sp>
      <p:sp>
        <p:nvSpPr>
          <p:cNvPr id="4" name="Espace réservé pour une image  5">
            <a:extLst>
              <a:ext uri="{FF2B5EF4-FFF2-40B4-BE49-F238E27FC236}">
                <a16:creationId xmlns:a16="http://schemas.microsoft.com/office/drawing/2014/main" id="{06375C56-BAB4-0EA7-87C0-C41726F992D1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7763844" y="1953000"/>
            <a:ext cx="1948615" cy="2221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fr-FR" sz="1000" b="1" cap="all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pPr marL="0" marR="0" lvl="0" indent="0" algn="l" defTabSz="456972" rtl="0" eaLnBrk="1" fontAlgn="auto" latinLnBrk="0" hangingPunct="1">
              <a:lnSpc>
                <a:spcPts val="1750"/>
              </a:lnSpc>
              <a:spcBef>
                <a:spcPts val="0"/>
              </a:spcBef>
              <a:spcAft>
                <a:spcPts val="0"/>
              </a:spcAft>
              <a:buClrTx/>
              <a:buSzPct val="80000"/>
              <a:buFontTx/>
              <a:buNone/>
              <a:tabLst/>
              <a:defRPr/>
            </a:pPr>
            <a:r>
              <a:rPr lang="fr-FR"/>
              <a:t>Photo portrait</a:t>
            </a:r>
          </a:p>
        </p:txBody>
      </p:sp>
      <p:sp>
        <p:nvSpPr>
          <p:cNvPr id="9" name="Titre 8">
            <a:extLst>
              <a:ext uri="{FF2B5EF4-FFF2-40B4-BE49-F238E27FC236}">
                <a16:creationId xmlns:a16="http://schemas.microsoft.com/office/drawing/2014/main" id="{DC4E7332-FAFC-9290-6074-B697882232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035" y="360000"/>
            <a:ext cx="11427931" cy="276999"/>
          </a:xfrm>
        </p:spPr>
        <p:txBody>
          <a:bodyPr/>
          <a:lstStyle>
            <a:lvl1pPr>
              <a:defRPr sz="2000"/>
            </a:lvl1pPr>
          </a:lstStyle>
          <a:p>
            <a:r>
              <a:rPr lang="fr-FR"/>
              <a:t>TITRE DE LA SLIDE</a:t>
            </a:r>
          </a:p>
        </p:txBody>
      </p:sp>
      <p:sp>
        <p:nvSpPr>
          <p:cNvPr id="15" name="Espace réservé de la date 14">
            <a:extLst>
              <a:ext uri="{FF2B5EF4-FFF2-40B4-BE49-F238E27FC236}">
                <a16:creationId xmlns:a16="http://schemas.microsoft.com/office/drawing/2014/main" id="{A74D9337-A54D-FD3B-F62F-66E510E380DF}"/>
              </a:ext>
            </a:extLst>
          </p:cNvPr>
          <p:cNvSpPr>
            <a:spLocks noGrp="1"/>
          </p:cNvSpPr>
          <p:nvPr>
            <p:ph type="dt" sz="half" idx="21"/>
          </p:nvPr>
        </p:nvSpPr>
        <p:spPr/>
        <p:txBody>
          <a:bodyPr/>
          <a:lstStyle/>
          <a:p>
            <a:fld id="{DF342B73-D2B7-D248-96C4-EBEEB6DE26CD}" type="datetimeFigureOut">
              <a:rPr lang="fr-FR" smtClean="0"/>
              <a:pPr/>
              <a:t>04/03/2026</a:t>
            </a:fld>
            <a:endParaRPr lang="fr-FR"/>
          </a:p>
        </p:txBody>
      </p:sp>
      <p:sp>
        <p:nvSpPr>
          <p:cNvPr id="16" name="Espace réservé du pied de page 15">
            <a:extLst>
              <a:ext uri="{FF2B5EF4-FFF2-40B4-BE49-F238E27FC236}">
                <a16:creationId xmlns:a16="http://schemas.microsoft.com/office/drawing/2014/main" id="{963846E0-B8CA-2E4F-EA54-16EA5F45EFAD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r>
              <a:rPr lang="fr-FR"/>
              <a:t>-   confidentiel   -</a:t>
            </a:r>
          </a:p>
        </p:txBody>
      </p:sp>
      <p:sp>
        <p:nvSpPr>
          <p:cNvPr id="17" name="Espace réservé du numéro de diapositive 16">
            <a:extLst>
              <a:ext uri="{FF2B5EF4-FFF2-40B4-BE49-F238E27FC236}">
                <a16:creationId xmlns:a16="http://schemas.microsoft.com/office/drawing/2014/main" id="{980CEC6C-D2C5-CCEB-9A61-BAFB5680D781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EAA21038-A716-1548-A84E-A957E2BC7F1C}" type="slidenum">
              <a:rPr lang="fr-FR" smtClean="0"/>
              <a:pPr/>
              <a:t>‹#›</a:t>
            </a:fld>
            <a:endParaRPr lang="fr-FR"/>
          </a:p>
        </p:txBody>
      </p:sp>
      <p:sp>
        <p:nvSpPr>
          <p:cNvPr id="11" name="Espace réservé du texte 17">
            <a:extLst>
              <a:ext uri="{FF2B5EF4-FFF2-40B4-BE49-F238E27FC236}">
                <a16:creationId xmlns:a16="http://schemas.microsoft.com/office/drawing/2014/main" id="{FBC1DDB4-BE54-D6AE-3FCC-4BBB0818C00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478091" y="4325938"/>
            <a:ext cx="1948615" cy="969496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sz="1400" b="0">
                <a:solidFill>
                  <a:schemeClr val="bg1"/>
                </a:solidFill>
              </a:defRPr>
            </a:lvl1pPr>
          </a:lstStyle>
          <a:p>
            <a:pPr lvl="5"/>
            <a:r>
              <a:rPr lang="fr-FR"/>
              <a:t>prénom</a:t>
            </a:r>
          </a:p>
          <a:p>
            <a:pPr lvl="5"/>
            <a:r>
              <a:rPr lang="fr-FR"/>
              <a:t>nom</a:t>
            </a:r>
          </a:p>
          <a:p>
            <a:pPr lvl="0"/>
            <a:r>
              <a:rPr lang="fr-FR"/>
              <a:t>POSTE</a:t>
            </a:r>
          </a:p>
        </p:txBody>
      </p:sp>
      <p:sp>
        <p:nvSpPr>
          <p:cNvPr id="18" name="Espace réservé du texte 17">
            <a:extLst>
              <a:ext uri="{FF2B5EF4-FFF2-40B4-BE49-F238E27FC236}">
                <a16:creationId xmlns:a16="http://schemas.microsoft.com/office/drawing/2014/main" id="{88B9225C-12D4-1507-22F7-51254604633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124058" y="4325938"/>
            <a:ext cx="1948615" cy="969496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sz="1400" b="0">
                <a:solidFill>
                  <a:schemeClr val="bg1"/>
                </a:solidFill>
              </a:defRPr>
            </a:lvl1pPr>
          </a:lstStyle>
          <a:p>
            <a:pPr lvl="5"/>
            <a:r>
              <a:rPr lang="fr-FR"/>
              <a:t>prénom</a:t>
            </a:r>
          </a:p>
          <a:p>
            <a:pPr lvl="5"/>
            <a:r>
              <a:rPr lang="fr-FR"/>
              <a:t>nom</a:t>
            </a:r>
          </a:p>
          <a:p>
            <a:pPr lvl="0"/>
            <a:r>
              <a:rPr lang="fr-FR"/>
              <a:t>POSTE</a:t>
            </a:r>
          </a:p>
        </p:txBody>
      </p:sp>
      <p:sp>
        <p:nvSpPr>
          <p:cNvPr id="19" name="Espace réservé du texte 17">
            <a:extLst>
              <a:ext uri="{FF2B5EF4-FFF2-40B4-BE49-F238E27FC236}">
                <a16:creationId xmlns:a16="http://schemas.microsoft.com/office/drawing/2014/main" id="{C35B2759-DD3E-22D2-53ED-013BA618BCB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7761055" y="4325938"/>
            <a:ext cx="1948615" cy="969496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sz="1400" b="0">
                <a:solidFill>
                  <a:schemeClr val="bg1"/>
                </a:solidFill>
              </a:defRPr>
            </a:lvl1pPr>
          </a:lstStyle>
          <a:p>
            <a:pPr lvl="5"/>
            <a:r>
              <a:rPr lang="fr-FR"/>
              <a:t>prénom</a:t>
            </a:r>
          </a:p>
          <a:p>
            <a:pPr lvl="5"/>
            <a:r>
              <a:rPr lang="fr-FR"/>
              <a:t>nom</a:t>
            </a:r>
          </a:p>
          <a:p>
            <a:pPr lvl="0"/>
            <a:r>
              <a:rPr lang="fr-FR"/>
              <a:t>POSTE</a:t>
            </a:r>
          </a:p>
        </p:txBody>
      </p:sp>
    </p:spTree>
    <p:extLst>
      <p:ext uri="{BB962C8B-B14F-4D97-AF65-F5344CB8AC3E}">
        <p14:creationId xmlns:p14="http://schemas.microsoft.com/office/powerpoint/2010/main" val="303659308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ard members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pour une image  5">
            <a:extLst>
              <a:ext uri="{FF2B5EF4-FFF2-40B4-BE49-F238E27FC236}">
                <a16:creationId xmlns:a16="http://schemas.microsoft.com/office/drawing/2014/main" id="{B459A31B-FD1B-C4E9-148C-D2F8600B76CA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1212031" y="1958400"/>
            <a:ext cx="1845961" cy="2228400"/>
          </a:xfrm>
          <a:prstGeom prst="rect">
            <a:avLst/>
          </a:prstGeom>
        </p:spPr>
        <p:txBody>
          <a:bodyPr vert="horz" wrap="none" lIns="72000" tIns="0" rIns="0" bIns="0" rtlCol="0">
            <a:noAutofit/>
          </a:bodyPr>
          <a:lstStyle>
            <a:lvl1pPr>
              <a:defRPr lang="fr-FR" sz="1000" b="1" cap="all" dirty="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pPr lvl="0" defTabSz="456972">
              <a:lnSpc>
                <a:spcPts val="1750"/>
              </a:lnSpc>
              <a:buSzPct val="80000"/>
            </a:pPr>
            <a:r>
              <a:rPr lang="fr-FR"/>
              <a:t>Photo portrait</a:t>
            </a:r>
          </a:p>
        </p:txBody>
      </p:sp>
      <p:sp>
        <p:nvSpPr>
          <p:cNvPr id="13" name="Espace réservé pour une image  5">
            <a:extLst>
              <a:ext uri="{FF2B5EF4-FFF2-40B4-BE49-F238E27FC236}">
                <a16:creationId xmlns:a16="http://schemas.microsoft.com/office/drawing/2014/main" id="{BDCBA7D1-4235-642E-9B5B-AE7CC4E3A838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9134358" y="1958400"/>
            <a:ext cx="1845961" cy="2228400"/>
          </a:xfrm>
          <a:prstGeom prst="rect">
            <a:avLst/>
          </a:prstGeom>
        </p:spPr>
        <p:txBody>
          <a:bodyPr vert="horz" lIns="72000" tIns="0" rIns="0" bIns="0" rtlCol="0">
            <a:noAutofit/>
          </a:bodyPr>
          <a:lstStyle>
            <a:lvl1pPr>
              <a:defRPr lang="fr-FR" sz="1000" b="1" cap="all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pPr marL="0" marR="0" lvl="0" indent="0" algn="l" defTabSz="456972" rtl="0" eaLnBrk="1" fontAlgn="auto" latinLnBrk="0" hangingPunct="1">
              <a:lnSpc>
                <a:spcPts val="1750"/>
              </a:lnSpc>
              <a:spcBef>
                <a:spcPts val="0"/>
              </a:spcBef>
              <a:spcAft>
                <a:spcPts val="0"/>
              </a:spcAft>
              <a:buClrTx/>
              <a:buSzPct val="80000"/>
              <a:buFontTx/>
              <a:buNone/>
              <a:tabLst/>
              <a:defRPr/>
            </a:pPr>
            <a:r>
              <a:rPr lang="fr-FR"/>
              <a:t>Photo portrait</a:t>
            </a:r>
          </a:p>
        </p:txBody>
      </p:sp>
      <p:sp>
        <p:nvSpPr>
          <p:cNvPr id="14" name="Espace réservé pour une image  5">
            <a:extLst>
              <a:ext uri="{FF2B5EF4-FFF2-40B4-BE49-F238E27FC236}">
                <a16:creationId xmlns:a16="http://schemas.microsoft.com/office/drawing/2014/main" id="{148DC861-39C6-7E92-7869-8BC199974985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3192613" y="1958400"/>
            <a:ext cx="1845961" cy="2228400"/>
          </a:xfrm>
          <a:prstGeom prst="rect">
            <a:avLst/>
          </a:prstGeom>
        </p:spPr>
        <p:txBody>
          <a:bodyPr vert="horz" lIns="72000" tIns="0" rIns="0" bIns="0" rtlCol="0">
            <a:noAutofit/>
          </a:bodyPr>
          <a:lstStyle>
            <a:lvl1pPr>
              <a:defRPr lang="fr-FR" sz="1000" b="1" cap="all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pPr marL="0" marR="0" lvl="0" indent="0" algn="l" defTabSz="456972" rtl="0" eaLnBrk="1" fontAlgn="auto" latinLnBrk="0" hangingPunct="1">
              <a:lnSpc>
                <a:spcPts val="1750"/>
              </a:lnSpc>
              <a:spcBef>
                <a:spcPts val="0"/>
              </a:spcBef>
              <a:spcAft>
                <a:spcPts val="0"/>
              </a:spcAft>
              <a:buClrTx/>
              <a:buSzPct val="80000"/>
              <a:buFontTx/>
              <a:buNone/>
              <a:tabLst/>
              <a:defRPr/>
            </a:pPr>
            <a:r>
              <a:rPr lang="fr-FR"/>
              <a:t>Photo portrait</a:t>
            </a:r>
          </a:p>
        </p:txBody>
      </p:sp>
      <p:sp>
        <p:nvSpPr>
          <p:cNvPr id="15" name="Espace réservé pour une image  5">
            <a:extLst>
              <a:ext uri="{FF2B5EF4-FFF2-40B4-BE49-F238E27FC236}">
                <a16:creationId xmlns:a16="http://schemas.microsoft.com/office/drawing/2014/main" id="{F33B2239-7604-75CF-8A96-4F9F14979FB8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5173195" y="1958400"/>
            <a:ext cx="1845961" cy="2228400"/>
          </a:xfrm>
          <a:prstGeom prst="rect">
            <a:avLst/>
          </a:prstGeom>
        </p:spPr>
        <p:txBody>
          <a:bodyPr vert="horz" lIns="72000" tIns="0" rIns="0" bIns="0" rtlCol="0">
            <a:noAutofit/>
          </a:bodyPr>
          <a:lstStyle>
            <a:lvl1pPr>
              <a:defRPr lang="fr-FR" sz="1000" b="1" cap="all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pPr marL="0" marR="0" lvl="0" indent="0" algn="l" defTabSz="456972" rtl="0" eaLnBrk="1" fontAlgn="auto" latinLnBrk="0" hangingPunct="1">
              <a:lnSpc>
                <a:spcPts val="1750"/>
              </a:lnSpc>
              <a:spcBef>
                <a:spcPts val="0"/>
              </a:spcBef>
              <a:spcAft>
                <a:spcPts val="0"/>
              </a:spcAft>
              <a:buClrTx/>
              <a:buSzPct val="80000"/>
              <a:buFontTx/>
              <a:buNone/>
              <a:tabLst/>
              <a:defRPr/>
            </a:pPr>
            <a:r>
              <a:rPr lang="fr-FR"/>
              <a:t>Photo portrait</a:t>
            </a:r>
          </a:p>
        </p:txBody>
      </p:sp>
      <p:sp>
        <p:nvSpPr>
          <p:cNvPr id="16" name="Espace réservé pour une image  5">
            <a:extLst>
              <a:ext uri="{FF2B5EF4-FFF2-40B4-BE49-F238E27FC236}">
                <a16:creationId xmlns:a16="http://schemas.microsoft.com/office/drawing/2014/main" id="{1E511A64-5BB8-C40A-3F40-5DD292B16B7B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153776" y="1958400"/>
            <a:ext cx="1845961" cy="2228400"/>
          </a:xfrm>
          <a:prstGeom prst="rect">
            <a:avLst/>
          </a:prstGeom>
        </p:spPr>
        <p:txBody>
          <a:bodyPr vert="horz" lIns="72000" tIns="0" rIns="0" bIns="0" rtlCol="0">
            <a:noAutofit/>
          </a:bodyPr>
          <a:lstStyle>
            <a:lvl1pPr>
              <a:defRPr lang="fr-FR" sz="1000" b="1" cap="all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pPr marL="0" marR="0" lvl="0" indent="0" algn="l" defTabSz="456972" rtl="0" eaLnBrk="1" fontAlgn="auto" latinLnBrk="0" hangingPunct="1">
              <a:lnSpc>
                <a:spcPts val="1750"/>
              </a:lnSpc>
              <a:spcBef>
                <a:spcPts val="0"/>
              </a:spcBef>
              <a:spcAft>
                <a:spcPts val="0"/>
              </a:spcAft>
              <a:buClrTx/>
              <a:buSzPct val="80000"/>
              <a:buFontTx/>
              <a:buNone/>
              <a:tabLst/>
              <a:defRPr/>
            </a:pPr>
            <a:r>
              <a:rPr lang="fr-FR"/>
              <a:t>Photo portrait</a:t>
            </a:r>
          </a:p>
        </p:txBody>
      </p:sp>
      <p:sp>
        <p:nvSpPr>
          <p:cNvPr id="7" name="Titre 8">
            <a:extLst>
              <a:ext uri="{FF2B5EF4-FFF2-40B4-BE49-F238E27FC236}">
                <a16:creationId xmlns:a16="http://schemas.microsoft.com/office/drawing/2014/main" id="{7F71CB05-86E4-7FC7-9819-78BA55AD218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035" y="360000"/>
            <a:ext cx="11427931" cy="276999"/>
          </a:xfrm>
        </p:spPr>
        <p:txBody>
          <a:bodyPr/>
          <a:lstStyle>
            <a:lvl1pPr>
              <a:defRPr sz="2000"/>
            </a:lvl1pPr>
          </a:lstStyle>
          <a:p>
            <a:r>
              <a:rPr lang="fr-FR"/>
              <a:t>TITRE DE LA SLIDE</a:t>
            </a:r>
          </a:p>
        </p:txBody>
      </p:sp>
      <p:sp>
        <p:nvSpPr>
          <p:cNvPr id="24" name="Espace réservé de la date 23">
            <a:extLst>
              <a:ext uri="{FF2B5EF4-FFF2-40B4-BE49-F238E27FC236}">
                <a16:creationId xmlns:a16="http://schemas.microsoft.com/office/drawing/2014/main" id="{2681AA3A-21E7-CE38-2869-C0CF36138AD8}"/>
              </a:ext>
            </a:extLst>
          </p:cNvPr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fld id="{DF342B73-D2B7-D248-96C4-EBEEB6DE26CD}" type="datetimeFigureOut">
              <a:rPr lang="fr-FR" smtClean="0"/>
              <a:pPr/>
              <a:t>04/03/2026</a:t>
            </a:fld>
            <a:endParaRPr lang="fr-FR"/>
          </a:p>
        </p:txBody>
      </p:sp>
      <p:sp>
        <p:nvSpPr>
          <p:cNvPr id="25" name="Espace réservé du pied de page 24">
            <a:extLst>
              <a:ext uri="{FF2B5EF4-FFF2-40B4-BE49-F238E27FC236}">
                <a16:creationId xmlns:a16="http://schemas.microsoft.com/office/drawing/2014/main" id="{B00F8EB5-FF0F-8561-6C7A-47FE2AFE55CB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r>
              <a:rPr lang="fr-FR"/>
              <a:t>-   confidentiel   -</a:t>
            </a:r>
          </a:p>
        </p:txBody>
      </p:sp>
      <p:sp>
        <p:nvSpPr>
          <p:cNvPr id="26" name="Espace réservé du numéro de diapositive 25">
            <a:extLst>
              <a:ext uri="{FF2B5EF4-FFF2-40B4-BE49-F238E27FC236}">
                <a16:creationId xmlns:a16="http://schemas.microsoft.com/office/drawing/2014/main" id="{31F0E362-7142-1426-3923-AC1D1BA8B4E2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EAA21038-A716-1548-A84E-A957E2BC7F1C}" type="slidenum">
              <a:rPr lang="fr-FR" smtClean="0"/>
              <a:pPr/>
              <a:t>‹#›</a:t>
            </a:fld>
            <a:endParaRPr lang="fr-FR"/>
          </a:p>
        </p:txBody>
      </p:sp>
      <p:sp>
        <p:nvSpPr>
          <p:cNvPr id="27" name="Espace réservé du texte 17">
            <a:extLst>
              <a:ext uri="{FF2B5EF4-FFF2-40B4-BE49-F238E27FC236}">
                <a16:creationId xmlns:a16="http://schemas.microsoft.com/office/drawing/2014/main" id="{72D79CE7-0ACE-FB3C-8845-39BB6278963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211682" y="4290079"/>
            <a:ext cx="1845961" cy="969496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sz="1400" b="0">
                <a:solidFill>
                  <a:schemeClr val="bg1"/>
                </a:solidFill>
              </a:defRPr>
            </a:lvl1pPr>
          </a:lstStyle>
          <a:p>
            <a:pPr lvl="5"/>
            <a:r>
              <a:rPr lang="fr-FR"/>
              <a:t>prénom</a:t>
            </a:r>
          </a:p>
          <a:p>
            <a:pPr lvl="5"/>
            <a:r>
              <a:rPr lang="fr-FR"/>
              <a:t>nom</a:t>
            </a:r>
          </a:p>
          <a:p>
            <a:pPr lvl="0"/>
            <a:r>
              <a:rPr lang="fr-FR"/>
              <a:t>POSTE</a:t>
            </a:r>
          </a:p>
        </p:txBody>
      </p:sp>
      <p:sp>
        <p:nvSpPr>
          <p:cNvPr id="28" name="Espace réservé du texte 17">
            <a:extLst>
              <a:ext uri="{FF2B5EF4-FFF2-40B4-BE49-F238E27FC236}">
                <a16:creationId xmlns:a16="http://schemas.microsoft.com/office/drawing/2014/main" id="{E90F946A-47CD-7B8B-7666-B0D8D913BA4A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3193914" y="4290079"/>
            <a:ext cx="1845961" cy="969496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sz="1400" b="0">
                <a:solidFill>
                  <a:schemeClr val="bg1"/>
                </a:solidFill>
              </a:defRPr>
            </a:lvl1pPr>
          </a:lstStyle>
          <a:p>
            <a:pPr lvl="5"/>
            <a:r>
              <a:rPr lang="fr-FR"/>
              <a:t>prénom</a:t>
            </a:r>
          </a:p>
          <a:p>
            <a:pPr lvl="5"/>
            <a:r>
              <a:rPr lang="fr-FR"/>
              <a:t>nom</a:t>
            </a:r>
          </a:p>
          <a:p>
            <a:pPr lvl="0"/>
            <a:r>
              <a:rPr lang="fr-FR"/>
              <a:t>POSTE</a:t>
            </a:r>
          </a:p>
        </p:txBody>
      </p:sp>
      <p:sp>
        <p:nvSpPr>
          <p:cNvPr id="29" name="Espace réservé du texte 17">
            <a:extLst>
              <a:ext uri="{FF2B5EF4-FFF2-40B4-BE49-F238E27FC236}">
                <a16:creationId xmlns:a16="http://schemas.microsoft.com/office/drawing/2014/main" id="{AA3A1454-BA07-8199-0CF9-079A3CCBC175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176147" y="4290079"/>
            <a:ext cx="1845961" cy="969496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sz="1400" b="0">
                <a:solidFill>
                  <a:schemeClr val="bg1"/>
                </a:solidFill>
              </a:defRPr>
            </a:lvl1pPr>
          </a:lstStyle>
          <a:p>
            <a:pPr lvl="5"/>
            <a:r>
              <a:rPr lang="fr-FR"/>
              <a:t>prénom</a:t>
            </a:r>
          </a:p>
          <a:p>
            <a:pPr lvl="5"/>
            <a:r>
              <a:rPr lang="fr-FR"/>
              <a:t>nom</a:t>
            </a:r>
          </a:p>
          <a:p>
            <a:pPr lvl="0"/>
            <a:r>
              <a:rPr lang="fr-FR"/>
              <a:t>POSTE</a:t>
            </a:r>
          </a:p>
        </p:txBody>
      </p:sp>
      <p:sp>
        <p:nvSpPr>
          <p:cNvPr id="30" name="Espace réservé du texte 17">
            <a:extLst>
              <a:ext uri="{FF2B5EF4-FFF2-40B4-BE49-F238E27FC236}">
                <a16:creationId xmlns:a16="http://schemas.microsoft.com/office/drawing/2014/main" id="{3D27BA17-0F98-AA13-991B-54112E2EC040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7158379" y="4290079"/>
            <a:ext cx="1845961" cy="969496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sz="1400" b="0">
                <a:solidFill>
                  <a:schemeClr val="bg1"/>
                </a:solidFill>
              </a:defRPr>
            </a:lvl1pPr>
          </a:lstStyle>
          <a:p>
            <a:pPr lvl="5"/>
            <a:r>
              <a:rPr lang="fr-FR"/>
              <a:t>prénom</a:t>
            </a:r>
          </a:p>
          <a:p>
            <a:pPr lvl="5"/>
            <a:r>
              <a:rPr lang="fr-FR"/>
              <a:t>nom</a:t>
            </a:r>
          </a:p>
          <a:p>
            <a:pPr lvl="0"/>
            <a:r>
              <a:rPr lang="fr-FR"/>
              <a:t>POSTE</a:t>
            </a:r>
          </a:p>
        </p:txBody>
      </p:sp>
      <p:sp>
        <p:nvSpPr>
          <p:cNvPr id="31" name="Espace réservé du texte 17">
            <a:extLst>
              <a:ext uri="{FF2B5EF4-FFF2-40B4-BE49-F238E27FC236}">
                <a16:creationId xmlns:a16="http://schemas.microsoft.com/office/drawing/2014/main" id="{7EFBDD57-EB2C-8326-C928-249AE3992E78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9140611" y="4290079"/>
            <a:ext cx="1845961" cy="969496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sz="1400" b="0">
                <a:solidFill>
                  <a:schemeClr val="bg1"/>
                </a:solidFill>
              </a:defRPr>
            </a:lvl1pPr>
          </a:lstStyle>
          <a:p>
            <a:pPr lvl="5"/>
            <a:r>
              <a:rPr lang="fr-FR"/>
              <a:t>prénom</a:t>
            </a:r>
          </a:p>
          <a:p>
            <a:pPr lvl="5"/>
            <a:r>
              <a:rPr lang="fr-FR"/>
              <a:t>nom</a:t>
            </a:r>
          </a:p>
          <a:p>
            <a:pPr lvl="0"/>
            <a:r>
              <a:rPr lang="fr-FR"/>
              <a:t>POSTE</a:t>
            </a:r>
          </a:p>
        </p:txBody>
      </p:sp>
    </p:spTree>
    <p:extLst>
      <p:ext uri="{BB962C8B-B14F-4D97-AF65-F5344CB8AC3E}">
        <p14:creationId xmlns:p14="http://schemas.microsoft.com/office/powerpoint/2010/main" val="312995865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image" Target="../media/image1.emf"/><Relationship Id="rId50" Type="http://schemas.openxmlformats.org/officeDocument/2006/relationships/image" Target="../media/image4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tags" Target="../tags/tag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image" Target="../media/image3.sv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image" Target="../media/image2.png"/><Relationship Id="rId8" Type="http://schemas.openxmlformats.org/officeDocument/2006/relationships/slideLayout" Target="../slideLayouts/slideLayout8.xml"/><Relationship Id="rId51" Type="http://schemas.openxmlformats.org/officeDocument/2006/relationships/image" Target="../media/image5.sv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itre 2">
            <a:extLst>
              <a:ext uri="{FF2B5EF4-FFF2-40B4-BE49-F238E27FC236}">
                <a16:creationId xmlns:a16="http://schemas.microsoft.com/office/drawing/2014/main" id="{D6EDF66C-BEEF-84CE-9577-2DD332F282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2035" y="360000"/>
            <a:ext cx="11427931" cy="2769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fr-FR"/>
              <a:t>MODIFIEZ LE STYLE DU TITRE</a:t>
            </a:r>
          </a:p>
        </p:txBody>
      </p:sp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4FDC06E4-F6E3-F85C-E7C6-CED3B2A2BD3C}"/>
              </a:ext>
            </a:extLst>
          </p:cNvPr>
          <p:cNvGraphicFramePr>
            <a:graphicFrameLocks noChangeAspect="1"/>
          </p:cNvGraphicFramePr>
          <p:nvPr>
            <p:custDataLst>
              <p:tags r:id="rId45"/>
            </p:custDataLst>
            <p:extLst>
              <p:ext uri="{D42A27DB-BD31-4B8C-83A1-F6EECF244321}">
                <p14:modId xmlns:p14="http://schemas.microsoft.com/office/powerpoint/2010/main" val="1561844803"/>
              </p:ext>
            </p:extLst>
          </p:nvPr>
        </p:nvGraphicFramePr>
        <p:xfrm>
          <a:off x="795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6" imgW="470" imgH="469" progId="TCLayout.ActiveDocument.1">
                  <p:embed/>
                </p:oleObj>
              </mc:Choice>
              <mc:Fallback>
                <p:oleObj name="Diapositive think-cell" r:id="rId46" imgW="470" imgH="469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FDC06E4-F6E3-F85C-E7C6-CED3B2A2BD3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7"/>
                      <a:stretch>
                        <a:fillRect/>
                      </a:stretch>
                    </p:blipFill>
                    <p:spPr>
                      <a:xfrm>
                        <a:off x="795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Espace réservé du pied de page 7">
            <a:extLst>
              <a:ext uri="{FF2B5EF4-FFF2-40B4-BE49-F238E27FC236}">
                <a16:creationId xmlns:a16="http://schemas.microsoft.com/office/drawing/2014/main" id="{72D6BF05-3EA7-DE19-84EB-4B1649E36EA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398444" y="6536809"/>
            <a:ext cx="762389" cy="184666"/>
          </a:xfrm>
          <a:prstGeom prst="rect">
            <a:avLst/>
          </a:prstGeom>
        </p:spPr>
        <p:txBody>
          <a:bodyPr vert="horz" wrap="none" lIns="0" tIns="45720" rIns="91440" bIns="45720" rtlCol="0" anchor="b">
            <a:spAutoFit/>
          </a:bodyPr>
          <a:lstStyle>
            <a:lvl1pPr algn="r">
              <a:defRPr sz="600" b="0" i="1" cap="all" baseline="0">
                <a:solidFill>
                  <a:schemeClr val="bg2"/>
                </a:solidFill>
              </a:defRPr>
            </a:lvl1pPr>
          </a:lstStyle>
          <a:p>
            <a:r>
              <a:rPr lang="fr-FR"/>
              <a:t>-   confidentiel   -</a:t>
            </a:r>
          </a:p>
        </p:txBody>
      </p:sp>
      <p:sp>
        <p:nvSpPr>
          <p:cNvPr id="9" name="Espace réservé de la date 8">
            <a:extLst>
              <a:ext uri="{FF2B5EF4-FFF2-40B4-BE49-F238E27FC236}">
                <a16:creationId xmlns:a16="http://schemas.microsoft.com/office/drawing/2014/main" id="{4B7448C9-1B80-6E20-F4CF-699CF34023E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754166" y="6536809"/>
            <a:ext cx="662362" cy="184666"/>
          </a:xfrm>
          <a:prstGeom prst="rect">
            <a:avLst/>
          </a:prstGeom>
        </p:spPr>
        <p:txBody>
          <a:bodyPr vert="horz" wrap="none" lIns="91440" tIns="45720" rIns="91440" bIns="45720" rtlCol="0" anchor="b">
            <a:spAutoFit/>
          </a:bodyPr>
          <a:lstStyle>
            <a:lvl1pPr algn="r">
              <a:defRPr sz="600" b="0" i="1" cap="all" baseline="0">
                <a:solidFill>
                  <a:schemeClr val="bg1"/>
                </a:solidFill>
              </a:defRPr>
            </a:lvl1pPr>
          </a:lstStyle>
          <a:p>
            <a:fld id="{DF342B73-D2B7-D248-96C4-EBEEB6DE26CD}" type="datetimeFigureOut">
              <a:rPr lang="fr-FR" smtClean="0"/>
              <a:pPr/>
              <a:t>04/03/2026</a:t>
            </a:fld>
            <a:endParaRPr lang="fr-FR"/>
          </a:p>
        </p:txBody>
      </p:sp>
      <p:sp>
        <p:nvSpPr>
          <p:cNvPr id="10" name="Espace réservé du numéro de diapositive 9">
            <a:extLst>
              <a:ext uri="{FF2B5EF4-FFF2-40B4-BE49-F238E27FC236}">
                <a16:creationId xmlns:a16="http://schemas.microsoft.com/office/drawing/2014/main" id="{F1F8F567-7F0B-96C6-C0FA-AB0137AD789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26167" y="6536810"/>
            <a:ext cx="346570" cy="184666"/>
          </a:xfrm>
          <a:prstGeom prst="rect">
            <a:avLst/>
          </a:prstGeom>
        </p:spPr>
        <p:txBody>
          <a:bodyPr vert="horz" wrap="none" lIns="91440" tIns="45720" rIns="91440" bIns="45720" rtlCol="0" anchor="b">
            <a:spAutoFit/>
          </a:bodyPr>
          <a:lstStyle>
            <a:lvl1pPr algn="ctr">
              <a:defRPr sz="600" b="0" i="1" baseline="0">
                <a:solidFill>
                  <a:schemeClr val="bg2"/>
                </a:solidFill>
              </a:defRPr>
            </a:lvl1pPr>
          </a:lstStyle>
          <a:p>
            <a:fld id="{EAA21038-A716-1548-A84E-A957E2BC7F1C}" type="slidenum">
              <a:rPr lang="fr-FR" smtClean="0"/>
              <a:pPr/>
              <a:t>‹#›</a:t>
            </a:fld>
            <a:endParaRPr lang="fr-FR"/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EA1ECE9F-3C0F-B95F-45A1-7771C53AF51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7843" y="1825625"/>
            <a:ext cx="5398722" cy="2256002"/>
          </a:xfrm>
          <a:prstGeom prst="rect">
            <a:avLst/>
          </a:prstGeom>
        </p:spPr>
        <p:txBody>
          <a:bodyPr vert="horz" wrap="none" lIns="91440" tIns="45720" rIns="91440" bIns="45720" rtlCol="0">
            <a:spAutoFit/>
          </a:bodyPr>
          <a:lstStyle/>
          <a:p>
            <a:r>
              <a:rPr lang="fr-FR" sz="1400" i="1" spc="0">
                <a:solidFill>
                  <a:schemeClr val="bg2"/>
                </a:solidFill>
                <a:latin typeface="+mn-lt"/>
              </a:rPr>
              <a:t>Texte</a:t>
            </a:r>
          </a:p>
          <a:p>
            <a:pPr marL="457200" indent="-457200">
              <a:buClr>
                <a:schemeClr val="accent1"/>
              </a:buClr>
              <a:buFont typeface="Wingdings" pitchFamily="2" charset="2"/>
              <a:buChar char="§"/>
            </a:pPr>
            <a:r>
              <a:rPr lang="fr-FR" sz="1400" i="1" spc="0">
                <a:solidFill>
                  <a:schemeClr val="bg2"/>
                </a:solidFill>
                <a:latin typeface="+mn-lt"/>
              </a:rPr>
              <a:t>Puce niveau 1a</a:t>
            </a:r>
          </a:p>
          <a:p>
            <a:pPr marL="724694" lvl="1" indent="-228600">
              <a:buClr>
                <a:schemeClr val="accent1"/>
              </a:buClr>
              <a:buFontTx/>
              <a:buBlip>
                <a:blip r:embed="rId48">
                  <a:extLst>
                    <a:ext uri="{96DAC541-7B7A-43D3-8B79-37D633B846F1}">
                      <asvg:svgBlip xmlns:asvg="http://schemas.microsoft.com/office/drawing/2016/SVG/main" r:embed="rId49"/>
                    </a:ext>
                  </a:extLst>
                </a:blip>
              </a:buBlip>
              <a:tabLst/>
            </a:pPr>
            <a:r>
              <a:rPr lang="fr-FR" sz="1400" i="1" spc="0">
                <a:solidFill>
                  <a:schemeClr val="bg2"/>
                </a:solidFill>
                <a:latin typeface="+mn-lt"/>
              </a:rPr>
              <a:t>Puce niveau 2a</a:t>
            </a:r>
          </a:p>
          <a:p>
            <a:r>
              <a:rPr lang="fr-FR" sz="2000" b="1" i="1" cap="all" spc="0" baseline="0">
                <a:solidFill>
                  <a:schemeClr val="bg2"/>
                </a:solidFill>
                <a:latin typeface="+mn-lt"/>
              </a:rPr>
              <a:t>Titre de chapitre 40 pts</a:t>
            </a:r>
          </a:p>
          <a:p>
            <a:pPr marL="0" marR="0" lvl="0" indent="0" algn="l" defTabSz="18275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2000" b="1" i="1" cap="all" spc="0" baseline="0">
                <a:solidFill>
                  <a:schemeClr val="accent1"/>
                </a:solidFill>
                <a:latin typeface="+mn-lt"/>
              </a:rPr>
              <a:t>Titre de chapitre 40 pts</a:t>
            </a:r>
          </a:p>
          <a:p>
            <a:pPr marL="0" marR="0" lvl="0" indent="0" algn="l" defTabSz="18275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3000" b="1" i="1" cap="all" spc="0" baseline="0">
                <a:solidFill>
                  <a:schemeClr val="bg2"/>
                </a:solidFill>
                <a:latin typeface="+mn-lt"/>
              </a:rPr>
              <a:t>Titre de chapitre 60 pts</a:t>
            </a:r>
          </a:p>
          <a:p>
            <a:pPr marL="0" marR="0" lvl="0" indent="0" algn="l" defTabSz="18275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3000" b="1" i="1" cap="all" spc="0" baseline="0">
                <a:solidFill>
                  <a:schemeClr val="accent1"/>
                </a:solidFill>
                <a:latin typeface="+mn-lt"/>
              </a:rPr>
              <a:t>Titre de chapitre 60 pts</a:t>
            </a:r>
          </a:p>
        </p:txBody>
      </p:sp>
      <p:pic>
        <p:nvPicPr>
          <p:cNvPr id="13" name="Graphique 12">
            <a:extLst>
              <a:ext uri="{FF2B5EF4-FFF2-40B4-BE49-F238E27FC236}">
                <a16:creationId xmlns:a16="http://schemas.microsoft.com/office/drawing/2014/main" id="{1BE43447-5DA0-C0F0-7F4F-7CB0D61C2D8C}"/>
              </a:ext>
            </a:extLst>
          </p:cNvPr>
          <p:cNvPicPr>
            <a:picLocks noChangeAspect="1"/>
          </p:cNvPicPr>
          <p:nvPr userDrawn="1"/>
        </p:nvPicPr>
        <p:blipFill>
          <a:blip r:embed="rId50">
            <a:extLst>
              <a:ext uri="{96DAC541-7B7A-43D3-8B79-37D633B846F1}">
                <asvg:svgBlip xmlns:asvg="http://schemas.microsoft.com/office/drawing/2016/SVG/main" r:embed="rId51"/>
              </a:ext>
            </a:extLst>
          </a:blip>
          <a:stretch>
            <a:fillRect/>
          </a:stretch>
        </p:blipFill>
        <p:spPr>
          <a:xfrm>
            <a:off x="11593201" y="6594479"/>
            <a:ext cx="466440" cy="115493"/>
          </a:xfrm>
          <a:prstGeom prst="rect">
            <a:avLst/>
          </a:prstGeom>
        </p:spPr>
      </p:pic>
      <p:sp>
        <p:nvSpPr>
          <p:cNvPr id="4" name="ZoneTexte 3">
            <a:extLst>
              <a:ext uri="{FF2B5EF4-FFF2-40B4-BE49-F238E27FC236}">
                <a16:creationId xmlns:a16="http://schemas.microsoft.com/office/drawing/2014/main" id="{E72E624F-F517-F084-97F8-426A7A6A5563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63500" y="6642100"/>
            <a:ext cx="4421188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fr-FR" sz="1000">
                <a:solidFill>
                  <a:srgbClr val="000000">
                    <a:alpha val="50000"/>
                  </a:srgbClr>
                </a:solidFill>
                <a:latin typeface="Aptos" panose="020B0004020202020204" pitchFamily="34" charset="0"/>
              </a:rPr>
              <a:t>Private - This document or email is for personal use only and must not be shared.</a:t>
            </a:r>
          </a:p>
        </p:txBody>
      </p:sp>
    </p:spTree>
    <p:extLst>
      <p:ext uri="{BB962C8B-B14F-4D97-AF65-F5344CB8AC3E}">
        <p14:creationId xmlns:p14="http://schemas.microsoft.com/office/powerpoint/2010/main" val="41353182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1" r:id="rId31"/>
    <p:sldLayoutId id="2147483692" r:id="rId32"/>
    <p:sldLayoutId id="2147483693" r:id="rId33"/>
    <p:sldLayoutId id="2147483694" r:id="rId34"/>
    <p:sldLayoutId id="2147483695" r:id="rId35"/>
    <p:sldLayoutId id="2147483696" r:id="rId36"/>
    <p:sldLayoutId id="2147483697" r:id="rId37"/>
    <p:sldLayoutId id="2147483698" r:id="rId38"/>
    <p:sldLayoutId id="2147483699" r:id="rId39"/>
    <p:sldLayoutId id="2147483700" r:id="rId40"/>
    <p:sldLayoutId id="2147483701" r:id="rId41"/>
    <p:sldLayoutId id="2147483702" r:id="rId42"/>
    <p:sldLayoutId id="2147483703" r:id="rId43"/>
  </p:sldLayoutIdLst>
  <p:hf hdr="0"/>
  <p:txStyles>
    <p:titleStyle>
      <a:lvl1pPr algn="ctr" defTabSz="456972" rtl="0" eaLnBrk="1" latinLnBrk="0" hangingPunct="1">
        <a:lnSpc>
          <a:spcPct val="90000"/>
        </a:lnSpc>
        <a:spcBef>
          <a:spcPct val="0"/>
        </a:spcBef>
        <a:buNone/>
        <a:defRPr sz="2000" b="0" i="1" kern="1200" cap="all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marR="0" indent="-228600" algn="l" defTabSz="1827520" rtl="0" eaLnBrk="1" fontAlgn="auto" latinLnBrk="0" hangingPunct="1">
        <a:lnSpc>
          <a:spcPct val="100000"/>
        </a:lnSpc>
        <a:spcBef>
          <a:spcPts val="0"/>
        </a:spcBef>
        <a:spcAft>
          <a:spcPts val="0"/>
        </a:spcAft>
        <a:buClr>
          <a:schemeClr val="accent1"/>
        </a:buClr>
        <a:buSzPct val="100000"/>
        <a:buFont typeface="Wingdings" pitchFamily="2" charset="2"/>
        <a:buChar char="§"/>
        <a:tabLst/>
        <a:defRPr lang="fr-FR" sz="5000" b="0" i="1" kern="1200" cap="none" spc="0" baseline="0">
          <a:solidFill>
            <a:schemeClr val="bg2"/>
          </a:solidFill>
          <a:latin typeface="Canal+" pitchFamily="2" charset="77"/>
          <a:ea typeface="+mn-ea"/>
          <a:cs typeface="+mn-cs"/>
        </a:defRPr>
      </a:lvl1pPr>
      <a:lvl2pPr marL="7938" indent="0" algn="l" defTabSz="456972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>
          <a:schemeClr val="accent1"/>
        </a:buClr>
        <a:buSzPct val="100000"/>
        <a:buFont typeface="Wingdings" pitchFamily="2" charset="2"/>
        <a:buChar char="§"/>
        <a:tabLst/>
        <a:defRPr sz="1400" b="0" i="1" kern="1200" baseline="0">
          <a:solidFill>
            <a:schemeClr val="bg2"/>
          </a:solidFill>
          <a:latin typeface="+mn-lt"/>
          <a:ea typeface="+mn-ea"/>
          <a:cs typeface="+mn-cs"/>
        </a:defRPr>
      </a:lvl2pPr>
      <a:lvl3pPr marL="0" indent="-234000" algn="l" defTabSz="456972" rtl="0" eaLnBrk="1" latinLnBrk="0" hangingPunct="1">
        <a:lnSpc>
          <a:spcPts val="1750"/>
        </a:lnSpc>
        <a:spcBef>
          <a:spcPts val="0"/>
        </a:spcBef>
        <a:spcAft>
          <a:spcPts val="0"/>
        </a:spcAft>
        <a:buClr>
          <a:schemeClr val="accent1"/>
        </a:buClr>
        <a:buSzPct val="80000"/>
        <a:buFont typeface="+mj-lt"/>
        <a:buAutoNum type="arabicPeriod"/>
        <a:tabLst/>
        <a:defRPr sz="1400" b="0" i="1" kern="1200" baseline="0">
          <a:solidFill>
            <a:schemeClr val="bg2"/>
          </a:solidFill>
          <a:latin typeface="+mn-lt"/>
          <a:ea typeface="+mn-ea"/>
          <a:cs typeface="+mn-cs"/>
        </a:defRPr>
      </a:lvl3pPr>
      <a:lvl4pPr marL="0" indent="0" algn="l" defTabSz="456972" rtl="0" eaLnBrk="1" latinLnBrk="0" hangingPunct="1">
        <a:lnSpc>
          <a:spcPts val="2400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defRPr sz="1400" b="0" i="1" kern="1200" cap="none" baseline="0">
          <a:solidFill>
            <a:schemeClr val="bg2"/>
          </a:solidFill>
          <a:latin typeface="Canal+" pitchFamily="2" charset="77"/>
          <a:ea typeface="+mn-ea"/>
          <a:cs typeface="+mn-cs"/>
        </a:defRPr>
      </a:lvl4pPr>
      <a:lvl5pPr marL="0" indent="0" algn="l" defTabSz="456972" rtl="0" eaLnBrk="1" latinLnBrk="0" hangingPunct="1">
        <a:lnSpc>
          <a:spcPts val="2400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defRPr lang="fr-FR" sz="2000" b="1" i="1" kern="1200" cap="all" baseline="0" dirty="0">
          <a:solidFill>
            <a:schemeClr val="accent1"/>
          </a:solidFill>
          <a:latin typeface="+mn-lt"/>
          <a:ea typeface="+mn-ea"/>
          <a:cs typeface="+mn-cs"/>
        </a:defRPr>
      </a:lvl5pPr>
      <a:lvl6pPr marL="0" indent="-1131888" algn="l" defTabSz="456972" rtl="0" eaLnBrk="1" latinLnBrk="0" hangingPunct="1">
        <a:lnSpc>
          <a:spcPts val="2400"/>
        </a:lnSpc>
        <a:spcBef>
          <a:spcPts val="0"/>
        </a:spcBef>
        <a:buFont typeface="Arial" panose="020B0604020202020204" pitchFamily="34" charset="0"/>
        <a:buNone/>
        <a:tabLst/>
        <a:defRPr sz="2000" b="1" i="1" kern="1200" cap="all" baseline="0">
          <a:solidFill>
            <a:schemeClr val="bg2"/>
          </a:solidFill>
          <a:latin typeface="Canal+" pitchFamily="2" charset="77"/>
          <a:ea typeface="+mn-ea"/>
          <a:cs typeface="+mn-cs"/>
        </a:defRPr>
      </a:lvl6pPr>
      <a:lvl7pPr marL="0" indent="0" algn="l" defTabSz="456972" rtl="0" eaLnBrk="1" latinLnBrk="0" hangingPunct="1">
        <a:lnSpc>
          <a:spcPts val="3250"/>
        </a:lnSpc>
        <a:spcBef>
          <a:spcPts val="0"/>
        </a:spcBef>
        <a:buFont typeface="Arial" panose="020B0604020202020204" pitchFamily="34" charset="0"/>
        <a:buNone/>
        <a:tabLst/>
        <a:defRPr sz="3000" b="1" i="1" kern="1200" cap="all" baseline="0">
          <a:solidFill>
            <a:schemeClr val="accent1"/>
          </a:solidFill>
          <a:latin typeface="Canal+" pitchFamily="2" charset="77"/>
          <a:ea typeface="+mn-ea"/>
          <a:cs typeface="+mn-cs"/>
        </a:defRPr>
      </a:lvl7pPr>
      <a:lvl8pPr marL="0" indent="0" algn="l" defTabSz="456972" rtl="0" eaLnBrk="1" latinLnBrk="0" hangingPunct="1">
        <a:lnSpc>
          <a:spcPts val="3250"/>
        </a:lnSpc>
        <a:spcBef>
          <a:spcPts val="0"/>
        </a:spcBef>
        <a:buFontTx/>
        <a:buNone/>
        <a:tabLst/>
        <a:defRPr sz="3000" b="1" i="1" kern="1200" cap="all" baseline="0">
          <a:solidFill>
            <a:schemeClr val="bg2"/>
          </a:solidFill>
          <a:latin typeface="+mn-lt"/>
          <a:ea typeface="+mn-ea"/>
          <a:cs typeface="+mn-cs"/>
        </a:defRPr>
      </a:lvl8pPr>
      <a:lvl9pPr marL="11907" indent="0" algn="l" defTabSz="456972" rtl="0" eaLnBrk="1" latinLnBrk="0" hangingPunct="1">
        <a:lnSpc>
          <a:spcPct val="90000"/>
        </a:lnSpc>
        <a:spcBef>
          <a:spcPts val="0"/>
        </a:spcBef>
        <a:buFont typeface="Arial" panose="020B0604020202020204" pitchFamily="34" charset="0"/>
        <a:buNone/>
        <a:tabLst/>
        <a:defRPr sz="7500" b="1" i="1" kern="1200" cap="all" baseline="0">
          <a:solidFill>
            <a:schemeClr val="accent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456972" rtl="0" eaLnBrk="1" latinLnBrk="0" hangingPunct="1">
        <a:defRPr sz="899" kern="1200">
          <a:solidFill>
            <a:schemeClr val="tx1"/>
          </a:solidFill>
          <a:latin typeface="+mn-lt"/>
          <a:ea typeface="+mn-ea"/>
          <a:cs typeface="+mn-cs"/>
        </a:defRPr>
      </a:lvl1pPr>
      <a:lvl2pPr marL="228486" algn="l" defTabSz="456972" rtl="0" eaLnBrk="1" latinLnBrk="0" hangingPunct="1">
        <a:defRPr sz="899" kern="1200">
          <a:solidFill>
            <a:schemeClr val="tx1"/>
          </a:solidFill>
          <a:latin typeface="+mn-lt"/>
          <a:ea typeface="+mn-ea"/>
          <a:cs typeface="+mn-cs"/>
        </a:defRPr>
      </a:lvl2pPr>
      <a:lvl3pPr marL="456972" algn="l" defTabSz="456972" rtl="0" eaLnBrk="1" latinLnBrk="0" hangingPunct="1">
        <a:defRPr sz="899" kern="1200">
          <a:solidFill>
            <a:schemeClr val="tx1"/>
          </a:solidFill>
          <a:latin typeface="+mn-lt"/>
          <a:ea typeface="+mn-ea"/>
          <a:cs typeface="+mn-cs"/>
        </a:defRPr>
      </a:lvl3pPr>
      <a:lvl4pPr marL="685457" algn="l" defTabSz="456972" rtl="0" eaLnBrk="1" latinLnBrk="0" hangingPunct="1">
        <a:defRPr sz="899" kern="1200">
          <a:solidFill>
            <a:schemeClr val="tx1"/>
          </a:solidFill>
          <a:latin typeface="+mn-lt"/>
          <a:ea typeface="+mn-ea"/>
          <a:cs typeface="+mn-cs"/>
        </a:defRPr>
      </a:lvl4pPr>
      <a:lvl5pPr marL="913943" algn="l" defTabSz="456972" rtl="0" eaLnBrk="1" latinLnBrk="0" hangingPunct="1">
        <a:defRPr sz="899" kern="1200">
          <a:solidFill>
            <a:schemeClr val="tx1"/>
          </a:solidFill>
          <a:latin typeface="+mn-lt"/>
          <a:ea typeface="+mn-ea"/>
          <a:cs typeface="+mn-cs"/>
        </a:defRPr>
      </a:lvl5pPr>
      <a:lvl6pPr marL="1142429" algn="l" defTabSz="456972" rtl="0" eaLnBrk="1" latinLnBrk="0" hangingPunct="1">
        <a:defRPr sz="899" kern="1200">
          <a:solidFill>
            <a:schemeClr val="tx1"/>
          </a:solidFill>
          <a:latin typeface="+mn-lt"/>
          <a:ea typeface="+mn-ea"/>
          <a:cs typeface="+mn-cs"/>
        </a:defRPr>
      </a:lvl6pPr>
      <a:lvl7pPr marL="1370914" algn="l" defTabSz="456972" rtl="0" eaLnBrk="1" latinLnBrk="0" hangingPunct="1">
        <a:defRPr sz="899" kern="1200">
          <a:solidFill>
            <a:schemeClr val="tx1"/>
          </a:solidFill>
          <a:latin typeface="+mn-lt"/>
          <a:ea typeface="+mn-ea"/>
          <a:cs typeface="+mn-cs"/>
        </a:defRPr>
      </a:lvl7pPr>
      <a:lvl8pPr marL="1599400" algn="l" defTabSz="456972" rtl="0" eaLnBrk="1" latinLnBrk="0" hangingPunct="1">
        <a:defRPr sz="899" kern="1200">
          <a:solidFill>
            <a:schemeClr val="tx1"/>
          </a:solidFill>
          <a:latin typeface="+mn-lt"/>
          <a:ea typeface="+mn-ea"/>
          <a:cs typeface="+mn-cs"/>
        </a:defRPr>
      </a:lvl8pPr>
      <a:lvl9pPr marL="1827886" algn="l" defTabSz="456972" rtl="0" eaLnBrk="1" latinLnBrk="0" hangingPunct="1">
        <a:defRPr sz="8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10219">
          <p15:clr>
            <a:srgbClr val="F26B43"/>
          </p15:clr>
        </p15:guide>
        <p15:guide id="2" orient="horz" pos="5744">
          <p15:clr>
            <a:srgbClr val="F26B43"/>
          </p15:clr>
        </p15:guide>
        <p15:guide id="3" pos="20469">
          <p15:clr>
            <a:srgbClr val="F26B43"/>
          </p15:clr>
        </p15:guide>
        <p15:guide id="4" orient="horz" pos="1150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jpeg"/><Relationship Id="rId3" Type="http://schemas.openxmlformats.org/officeDocument/2006/relationships/image" Target="../media/image11.jpeg"/><Relationship Id="rId7" Type="http://schemas.openxmlformats.org/officeDocument/2006/relationships/image" Target="../media/image15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4.xml"/><Relationship Id="rId6" Type="http://schemas.openxmlformats.org/officeDocument/2006/relationships/image" Target="../media/image14.jpeg"/><Relationship Id="rId5" Type="http://schemas.openxmlformats.org/officeDocument/2006/relationships/image" Target="../media/image13.png"/><Relationship Id="rId4" Type="http://schemas.openxmlformats.org/officeDocument/2006/relationships/image" Target="../media/image12.jpeg"/><Relationship Id="rId9" Type="http://schemas.openxmlformats.org/officeDocument/2006/relationships/image" Target="../media/image17.jpe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jpeg"/><Relationship Id="rId3" Type="http://schemas.openxmlformats.org/officeDocument/2006/relationships/image" Target="../media/image18.png"/><Relationship Id="rId7" Type="http://schemas.openxmlformats.org/officeDocument/2006/relationships/image" Target="../media/image22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4.xml"/><Relationship Id="rId6" Type="http://schemas.openxmlformats.org/officeDocument/2006/relationships/image" Target="../media/image21.jpeg"/><Relationship Id="rId5" Type="http://schemas.openxmlformats.org/officeDocument/2006/relationships/image" Target="../media/image20.jpeg"/><Relationship Id="rId10" Type="http://schemas.openxmlformats.org/officeDocument/2006/relationships/image" Target="../media/image25.jpg"/><Relationship Id="rId4" Type="http://schemas.openxmlformats.org/officeDocument/2006/relationships/image" Target="../media/image19.png"/><Relationship Id="rId9" Type="http://schemas.openxmlformats.org/officeDocument/2006/relationships/image" Target="../media/image24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7" Type="http://schemas.openxmlformats.org/officeDocument/2006/relationships/image" Target="../media/image30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4.xml"/><Relationship Id="rId6" Type="http://schemas.openxmlformats.org/officeDocument/2006/relationships/image" Target="../media/image29.png"/><Relationship Id="rId5" Type="http://schemas.openxmlformats.org/officeDocument/2006/relationships/image" Target="../media/image28.jpeg"/><Relationship Id="rId4" Type="http://schemas.openxmlformats.org/officeDocument/2006/relationships/image" Target="../media/image27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4" Type="http://schemas.openxmlformats.org/officeDocument/2006/relationships/image" Target="../media/image31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4639530A-D44E-9FF1-CC48-AFDB0F4863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82321" y="2197905"/>
            <a:ext cx="8574950" cy="2077492"/>
          </a:xfrm>
        </p:spPr>
        <p:txBody>
          <a:bodyPr/>
          <a:lstStyle/>
          <a:p>
            <a:pPr algn="ctr"/>
            <a:r>
              <a:rPr lang="fr-FR" dirty="0">
                <a:solidFill>
                  <a:srgbClr val="00B050"/>
                </a:solidFill>
              </a:rPr>
              <a:t>Le sport </a:t>
            </a:r>
            <a:br>
              <a:rPr lang="fr-FR" dirty="0">
                <a:solidFill>
                  <a:srgbClr val="00B050"/>
                </a:solidFill>
              </a:rPr>
            </a:br>
            <a:br>
              <a:rPr lang="fr-FR" dirty="0">
                <a:solidFill>
                  <a:srgbClr val="00B050"/>
                </a:solidFill>
              </a:rPr>
            </a:br>
            <a:r>
              <a:rPr lang="fr-FR" dirty="0">
                <a:solidFill>
                  <a:srgbClr val="00B050"/>
                </a:solidFill>
              </a:rPr>
              <a:t>L’ADN DE </a:t>
            </a:r>
            <a:r>
              <a:rPr lang="fr-FR" dirty="0" err="1">
                <a:solidFill>
                  <a:srgbClr val="00B050"/>
                </a:solidFill>
              </a:rPr>
              <a:t>canal+</a:t>
            </a:r>
            <a:r>
              <a:rPr lang="fr-FR" dirty="0">
                <a:solidFill>
                  <a:srgbClr val="00B050"/>
                </a:solidFill>
              </a:rPr>
              <a:t> 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ECF5A163-85A6-E4A6-F540-4E22C2820EB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CB3F475E-343F-837A-92E6-F1331EAD4BA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7247721E-5955-6A61-6B79-4ECCBB4DA1F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7311BC55-3F4A-8B2E-9DC7-7501338FD73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1E6D3EEC-431C-E3FD-DFA7-C9DA74DA925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94D3C576-B209-2AFC-F197-2FFF416941E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D5D8D291-88A7-1F45-418E-F68F7D148A0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19929564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3CCE774-D29E-C63D-5D2F-C886F86494E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ZoneTexte 8">
            <a:extLst>
              <a:ext uri="{FF2B5EF4-FFF2-40B4-BE49-F238E27FC236}">
                <a16:creationId xmlns:a16="http://schemas.microsoft.com/office/drawing/2014/main" id="{82EDFD95-020B-440B-86C5-80500F340A6A}"/>
              </a:ext>
            </a:extLst>
          </p:cNvPr>
          <p:cNvSpPr txBox="1"/>
          <p:nvPr/>
        </p:nvSpPr>
        <p:spPr>
          <a:xfrm>
            <a:off x="432694" y="1617025"/>
            <a:ext cx="6659828" cy="4493538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342900" indent="-342900">
              <a:buFont typeface="Arial"/>
              <a:buChar char="•"/>
            </a:pPr>
            <a:r>
              <a:rPr lang="fr-FR" sz="2200" b="1" dirty="0">
                <a:solidFill>
                  <a:srgbClr val="00B050"/>
                </a:solidFill>
                <a:latin typeface="Canal+"/>
              </a:rPr>
              <a:t>LE SPORT, SANS DISTINCTION</a:t>
            </a:r>
            <a:endParaRPr lang="fr-FR" sz="2200" b="1" dirty="0">
              <a:latin typeface="Canal+"/>
            </a:endParaRPr>
          </a:p>
          <a:p>
            <a:pPr>
              <a:buFont typeface="Arial"/>
              <a:buChar char="•"/>
            </a:pPr>
            <a:endParaRPr lang="fr-FR" sz="2200" b="1" dirty="0">
              <a:solidFill>
                <a:srgbClr val="00B050"/>
              </a:solidFill>
              <a:latin typeface="Canal+"/>
            </a:endParaRPr>
          </a:p>
          <a:p>
            <a:pPr>
              <a:buFont typeface="Arial"/>
              <a:buChar char="•"/>
            </a:pPr>
            <a:endParaRPr lang="fr-FR" sz="2200" b="1" dirty="0">
              <a:solidFill>
                <a:srgbClr val="00B050"/>
              </a:solidFill>
              <a:latin typeface="Canal+"/>
            </a:endParaRPr>
          </a:p>
          <a:p>
            <a:pPr>
              <a:buFont typeface="Arial"/>
              <a:buChar char="•"/>
            </a:pPr>
            <a:endParaRPr lang="fr-FR" sz="2200" b="1" dirty="0">
              <a:solidFill>
                <a:srgbClr val="00B050"/>
              </a:solidFill>
              <a:latin typeface="Canal+"/>
            </a:endParaRPr>
          </a:p>
          <a:p>
            <a:pPr marL="342900" indent="-342900">
              <a:buFont typeface="Arial"/>
              <a:buChar char="•"/>
            </a:pPr>
            <a:r>
              <a:rPr lang="fr-FR" sz="2200" b="1" dirty="0">
                <a:solidFill>
                  <a:srgbClr val="00B050"/>
                </a:solidFill>
                <a:latin typeface="Canal+"/>
              </a:rPr>
              <a:t>AU CŒUR DE NOTRE PROGRAMMATION       </a:t>
            </a:r>
            <a:endParaRPr lang="fr-FR" sz="2200" b="1" dirty="0">
              <a:solidFill>
                <a:srgbClr val="000000"/>
              </a:solidFill>
              <a:latin typeface="Canal+"/>
            </a:endParaRPr>
          </a:p>
          <a:p>
            <a:endParaRPr lang="fr-FR" sz="2200" b="1" dirty="0">
              <a:solidFill>
                <a:srgbClr val="000000"/>
              </a:solidFill>
              <a:latin typeface="Canal+"/>
            </a:endParaRPr>
          </a:p>
          <a:p>
            <a:endParaRPr lang="fr-FR" sz="2200" b="1" dirty="0">
              <a:solidFill>
                <a:srgbClr val="000000"/>
              </a:solidFill>
              <a:latin typeface="Canal+"/>
            </a:endParaRPr>
          </a:p>
          <a:p>
            <a:endParaRPr lang="fr-FR" sz="2200" b="1" dirty="0">
              <a:solidFill>
                <a:srgbClr val="000000"/>
              </a:solidFill>
              <a:latin typeface="Canal+"/>
            </a:endParaRPr>
          </a:p>
          <a:p>
            <a:pPr marL="342900" indent="-342900">
              <a:buFont typeface="Arial"/>
              <a:buChar char="•"/>
            </a:pPr>
            <a:r>
              <a:rPr lang="fr-FR" sz="2200" b="1" dirty="0">
                <a:solidFill>
                  <a:srgbClr val="00B050"/>
                </a:solidFill>
                <a:latin typeface="Canal+"/>
              </a:rPr>
              <a:t>MÊMES STANDARDS D'EXCELLENCE</a:t>
            </a:r>
            <a:endParaRPr lang="fr-FR" sz="2200" b="1" dirty="0">
              <a:latin typeface="Canal+"/>
            </a:endParaRPr>
          </a:p>
          <a:p>
            <a:pPr>
              <a:buFont typeface="Arial"/>
              <a:buChar char="•"/>
            </a:pPr>
            <a:endParaRPr lang="fr-FR" sz="2200" b="1" dirty="0">
              <a:solidFill>
                <a:srgbClr val="00B050"/>
              </a:solidFill>
              <a:effectLst/>
              <a:latin typeface="Canal+"/>
            </a:endParaRPr>
          </a:p>
          <a:p>
            <a:pPr>
              <a:buFont typeface="Arial"/>
              <a:buChar char="•"/>
            </a:pPr>
            <a:endParaRPr lang="fr-FR" sz="2200" b="1" dirty="0">
              <a:solidFill>
                <a:srgbClr val="00B050"/>
              </a:solidFill>
              <a:latin typeface="Canal+"/>
            </a:endParaRPr>
          </a:p>
          <a:p>
            <a:pPr>
              <a:buFont typeface="Arial"/>
              <a:buChar char="•"/>
            </a:pPr>
            <a:endParaRPr lang="fr-FR" sz="2200" b="1" dirty="0">
              <a:solidFill>
                <a:srgbClr val="00B050"/>
              </a:solidFill>
              <a:latin typeface="Canal+"/>
            </a:endParaRPr>
          </a:p>
          <a:p>
            <a:pPr marL="342900" indent="-342900">
              <a:buFont typeface="Arial"/>
              <a:buChar char="•"/>
            </a:pPr>
            <a:r>
              <a:rPr lang="fr-FR" sz="2200" b="1" dirty="0">
                <a:solidFill>
                  <a:srgbClr val="00B050"/>
                </a:solidFill>
                <a:latin typeface="Canal+"/>
              </a:rPr>
              <a:t>UN ENGAGEMENT </a:t>
            </a:r>
            <a:r>
              <a:rPr lang="fr-FR" sz="2200" b="1" u="sng" dirty="0">
                <a:solidFill>
                  <a:srgbClr val="00B050"/>
                </a:solidFill>
                <a:latin typeface="Canal+"/>
              </a:rPr>
              <a:t>DURABLE</a:t>
            </a:r>
            <a:endParaRPr lang="fr-FR" sz="2200" b="1" dirty="0">
              <a:solidFill>
                <a:srgbClr val="00B050"/>
              </a:solidFill>
              <a:effectLst/>
              <a:latin typeface="Canal+"/>
            </a:endParaRPr>
          </a:p>
        </p:txBody>
      </p:sp>
      <p:pic>
        <p:nvPicPr>
          <p:cNvPr id="1026" name="Picture 2" descr="Anne-Laure Salvatico (Canal+) : « Je n'avais jamais pensé au commentaire »  – Les Olympistes">
            <a:extLst>
              <a:ext uri="{FF2B5EF4-FFF2-40B4-BE49-F238E27FC236}">
                <a16:creationId xmlns:a16="http://schemas.microsoft.com/office/drawing/2014/main" id="{810348AD-8D64-86DE-6D9D-7C9A82E6926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74368" y="2672915"/>
            <a:ext cx="2076472" cy="11675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Un week-end de sport très féminin à l'antenne">
            <a:extLst>
              <a:ext uri="{FF2B5EF4-FFF2-40B4-BE49-F238E27FC236}">
                <a16:creationId xmlns:a16="http://schemas.microsoft.com/office/drawing/2014/main" id="{0CDAE0A5-DB7D-7DBB-9C3E-8C285E96535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74368" y="1097163"/>
            <a:ext cx="1562427" cy="10397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Image 9">
            <a:extLst>
              <a:ext uri="{FF2B5EF4-FFF2-40B4-BE49-F238E27FC236}">
                <a16:creationId xmlns:a16="http://schemas.microsoft.com/office/drawing/2014/main" id="{C5FBF8D5-6A10-547A-888D-2EC98EE016D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247957" y="4906152"/>
            <a:ext cx="2065694" cy="1167566"/>
          </a:xfrm>
          <a:prstGeom prst="rect">
            <a:avLst/>
          </a:prstGeom>
        </p:spPr>
      </p:pic>
      <p:pic>
        <p:nvPicPr>
          <p:cNvPr id="1040" name="Picture 16" descr="Seven circuits, three continents and a first-ever visit to SilverstoneUK 💙  The 2026 f1academy calendar is here! 🗓️">
            <a:extLst>
              <a:ext uri="{FF2B5EF4-FFF2-40B4-BE49-F238E27FC236}">
                <a16:creationId xmlns:a16="http://schemas.microsoft.com/office/drawing/2014/main" id="{BC492B2A-09A6-2713-AAFD-78633DC913B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45948" y="892802"/>
            <a:ext cx="961571" cy="12007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2" name="Picture 18" descr="Abonnement pour regarder le padel et le Premier Padel - CANAL+ - CANAL+">
            <a:extLst>
              <a:ext uri="{FF2B5EF4-FFF2-40B4-BE49-F238E27FC236}">
                <a16:creationId xmlns:a16="http://schemas.microsoft.com/office/drawing/2014/main" id="{8E93B551-C1D0-3029-390D-7EE30A1041A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45948" y="2271752"/>
            <a:ext cx="1618281" cy="9092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4" name="Picture 20" descr="In Extenso Supersevens 2025/2026 - In Extenso">
            <a:extLst>
              <a:ext uri="{FF2B5EF4-FFF2-40B4-BE49-F238E27FC236}">
                <a16:creationId xmlns:a16="http://schemas.microsoft.com/office/drawing/2014/main" id="{057CE823-10D5-04B8-5CA0-1DA2AD57ADC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47957" y="3467250"/>
            <a:ext cx="1807137" cy="12025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6" name="Picture 22" descr="Au gré d'Evian - The Amundi Evian Championship - Vidéo Dailymotion">
            <a:extLst>
              <a:ext uri="{FF2B5EF4-FFF2-40B4-BE49-F238E27FC236}">
                <a16:creationId xmlns:a16="http://schemas.microsoft.com/office/drawing/2014/main" id="{0606E059-A5D9-5A88-70D4-FD23AE72A13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74368" y="4322369"/>
            <a:ext cx="2084938" cy="11675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ZoneTexte 3">
            <a:extLst>
              <a:ext uri="{FF2B5EF4-FFF2-40B4-BE49-F238E27FC236}">
                <a16:creationId xmlns:a16="http://schemas.microsoft.com/office/drawing/2014/main" id="{EE3FCD2F-10A0-9D9F-2EA2-4B5400283C7A}"/>
              </a:ext>
            </a:extLst>
          </p:cNvPr>
          <p:cNvSpPr txBox="1"/>
          <p:nvPr/>
        </p:nvSpPr>
        <p:spPr>
          <a:xfrm>
            <a:off x="313333" y="184916"/>
            <a:ext cx="11206614" cy="707886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defRPr/>
            </a:pPr>
            <a:r>
              <a:rPr lang="fr-FR" sz="4000" b="1" i="1" dirty="0">
                <a:solidFill>
                  <a:srgbClr val="FFFFFF"/>
                </a:solidFill>
                <a:latin typeface="Canal+"/>
              </a:rPr>
              <a:t>LE SPORT FÉMININ SUR CANAL+</a:t>
            </a:r>
            <a:endParaRPr lang="fr-FR" dirty="0"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040712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39719F7-F063-8DC2-D395-7DC892CE406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oneTexte 1">
            <a:extLst>
              <a:ext uri="{FF2B5EF4-FFF2-40B4-BE49-F238E27FC236}">
                <a16:creationId xmlns:a16="http://schemas.microsoft.com/office/drawing/2014/main" id="{E4C2D93B-C8B0-A0FC-A422-9BCD53986151}"/>
              </a:ext>
            </a:extLst>
          </p:cNvPr>
          <p:cNvSpPr txBox="1"/>
          <p:nvPr/>
        </p:nvSpPr>
        <p:spPr>
          <a:xfrm>
            <a:off x="313333" y="184916"/>
            <a:ext cx="11206614" cy="707886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4000" b="1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nal+"/>
              </a:rPr>
              <a:t>TOUS LES SPORTS, TOUTES LES HISTOIRES </a:t>
            </a:r>
            <a:endParaRPr lang="fr-FR" dirty="0">
              <a:latin typeface="Canal+"/>
            </a:endParaRPr>
          </a:p>
        </p:txBody>
      </p:sp>
      <p:pic>
        <p:nvPicPr>
          <p:cNvPr id="13" name="Image 12" descr="Une image contenant Visage humain, personne, habits, sourire&#10;&#10;Le contenu généré par l’IA peut être incorrect.">
            <a:extLst>
              <a:ext uri="{FF2B5EF4-FFF2-40B4-BE49-F238E27FC236}">
                <a16:creationId xmlns:a16="http://schemas.microsoft.com/office/drawing/2014/main" id="{A7AA9B1D-DDA5-00A4-85E0-C79AC0C59C8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13649" y="2967052"/>
            <a:ext cx="2786848" cy="1567604"/>
          </a:xfrm>
          <a:prstGeom prst="rect">
            <a:avLst/>
          </a:prstGeom>
        </p:spPr>
      </p:pic>
      <p:pic>
        <p:nvPicPr>
          <p:cNvPr id="23" name="Image 22" descr="Une image contenant personne, habits, sport, chaussures&#10;&#10;Le contenu généré par l’IA peut être incorrect.">
            <a:extLst>
              <a:ext uri="{FF2B5EF4-FFF2-40B4-BE49-F238E27FC236}">
                <a16:creationId xmlns:a16="http://schemas.microsoft.com/office/drawing/2014/main" id="{E9B37678-53B4-47A0-A71B-A931A10480A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57523" y="892801"/>
            <a:ext cx="2906298" cy="1635701"/>
          </a:xfrm>
          <a:prstGeom prst="rect">
            <a:avLst/>
          </a:prstGeom>
        </p:spPr>
      </p:pic>
      <p:pic>
        <p:nvPicPr>
          <p:cNvPr id="25" name="Image 24" descr="Une image contenant texte, Visage humain, affiche, sourire&#10;&#10;Le contenu généré par l’IA peut être incorrect.">
            <a:extLst>
              <a:ext uri="{FF2B5EF4-FFF2-40B4-BE49-F238E27FC236}">
                <a16:creationId xmlns:a16="http://schemas.microsoft.com/office/drawing/2014/main" id="{C58DC526-299E-3285-E5C0-EFC35631416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523" y="2805969"/>
            <a:ext cx="1361428" cy="1815237"/>
          </a:xfrm>
          <a:prstGeom prst="rect">
            <a:avLst/>
          </a:prstGeom>
        </p:spPr>
      </p:pic>
      <p:pic>
        <p:nvPicPr>
          <p:cNvPr id="29" name="Image 28" descr="Une image contenant texte, Visage humain, affiche, femme&#10;&#10;Le contenu généré par l’IA peut être incorrect.">
            <a:extLst>
              <a:ext uri="{FF2B5EF4-FFF2-40B4-BE49-F238E27FC236}">
                <a16:creationId xmlns:a16="http://schemas.microsoft.com/office/drawing/2014/main" id="{D6A20A50-6D25-E9B2-339D-E984B8BD021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83879" y="2805968"/>
            <a:ext cx="1452190" cy="1815237"/>
          </a:xfrm>
          <a:prstGeom prst="rect">
            <a:avLst/>
          </a:prstGeom>
        </p:spPr>
      </p:pic>
      <p:pic>
        <p:nvPicPr>
          <p:cNvPr id="39" name="Image 38" descr="Une image contenant Visage humain, personne, sourire, habits">
            <a:extLst>
              <a:ext uri="{FF2B5EF4-FFF2-40B4-BE49-F238E27FC236}">
                <a16:creationId xmlns:a16="http://schemas.microsoft.com/office/drawing/2014/main" id="{F734163A-117A-A2A6-C03D-4E0726F8C93C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523" y="4961843"/>
            <a:ext cx="2906298" cy="1634792"/>
          </a:xfrm>
          <a:prstGeom prst="rect">
            <a:avLst/>
          </a:prstGeom>
        </p:spPr>
      </p:pic>
      <p:pic>
        <p:nvPicPr>
          <p:cNvPr id="41" name="Image 40" descr="Une image contenant personne, plein air, football, habits">
            <a:extLst>
              <a:ext uri="{FF2B5EF4-FFF2-40B4-BE49-F238E27FC236}">
                <a16:creationId xmlns:a16="http://schemas.microsoft.com/office/drawing/2014/main" id="{05B85FF2-17A1-91AC-417A-0134E458CF01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53924" y="4961842"/>
            <a:ext cx="2906298" cy="1634793"/>
          </a:xfrm>
          <a:prstGeom prst="rect">
            <a:avLst/>
          </a:prstGeom>
        </p:spPr>
      </p:pic>
      <p:pic>
        <p:nvPicPr>
          <p:cNvPr id="43" name="Image 42" descr="Une image contenant texte, Équipement de protection individuelle, skier, lunettes">
            <a:extLst>
              <a:ext uri="{FF2B5EF4-FFF2-40B4-BE49-F238E27FC236}">
                <a16:creationId xmlns:a16="http://schemas.microsoft.com/office/drawing/2014/main" id="{2B88DDC7-7B46-27C9-9589-B2944C7EB0DA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53924" y="960900"/>
            <a:ext cx="2786848" cy="1567602"/>
          </a:xfrm>
          <a:prstGeom prst="rect">
            <a:avLst/>
          </a:prstGeom>
        </p:spPr>
      </p:pic>
      <p:pic>
        <p:nvPicPr>
          <p:cNvPr id="4" name="Image 3" descr="Une image contenant Visage humain, habits, personne, costume&#10;&#10;Le contenu généré par l’IA peut être incorrect.">
            <a:extLst>
              <a:ext uri="{FF2B5EF4-FFF2-40B4-BE49-F238E27FC236}">
                <a16:creationId xmlns:a16="http://schemas.microsoft.com/office/drawing/2014/main" id="{31D9557D-16B2-93CA-9876-DB0E2DC90C3F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35325" y="2630834"/>
            <a:ext cx="4162629" cy="23414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732581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59A4579-A9C1-26A6-4ACF-E9C9DF5E02E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oneTexte 1">
            <a:extLst>
              <a:ext uri="{FF2B5EF4-FFF2-40B4-BE49-F238E27FC236}">
                <a16:creationId xmlns:a16="http://schemas.microsoft.com/office/drawing/2014/main" id="{C52FF974-3FA7-D587-42EC-1B59FBE2B914}"/>
              </a:ext>
            </a:extLst>
          </p:cNvPr>
          <p:cNvSpPr txBox="1"/>
          <p:nvPr/>
        </p:nvSpPr>
        <p:spPr>
          <a:xfrm>
            <a:off x="320000" y="175526"/>
            <a:ext cx="7726720" cy="718618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4000" b="1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nal+"/>
                <a:ea typeface="+mn-ea"/>
                <a:cs typeface="+mn-cs"/>
              </a:rPr>
              <a:t>UNE RESONANCE XXL</a:t>
            </a:r>
            <a:endParaRPr lang="fr-FR" dirty="0">
              <a:ea typeface="+mn-ea"/>
              <a:cs typeface="+mn-cs"/>
            </a:endParaRPr>
          </a:p>
        </p:txBody>
      </p:sp>
      <p:pic>
        <p:nvPicPr>
          <p:cNvPr id="11" name="Image 10" descr="Une image contenant texte, Visage humain, personne, habits&#10;&#10;Le contenu généré par l’IA peut être incorrect.">
            <a:extLst>
              <a:ext uri="{FF2B5EF4-FFF2-40B4-BE49-F238E27FC236}">
                <a16:creationId xmlns:a16="http://schemas.microsoft.com/office/drawing/2014/main" id="{AE1FA3B3-1E88-17A9-3169-58565F1DF1C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9211" y="1159843"/>
            <a:ext cx="1970395" cy="2627102"/>
          </a:xfrm>
          <a:prstGeom prst="rect">
            <a:avLst/>
          </a:prstGeom>
        </p:spPr>
      </p:pic>
      <p:pic>
        <p:nvPicPr>
          <p:cNvPr id="17" name="Image 16" descr="Une image contenant Visage humain, habits, homme, texte&#10;&#10;Le contenu généré par l’IA peut être incorrect.">
            <a:extLst>
              <a:ext uri="{FF2B5EF4-FFF2-40B4-BE49-F238E27FC236}">
                <a16:creationId xmlns:a16="http://schemas.microsoft.com/office/drawing/2014/main" id="{755E8D48-4B74-34C2-B594-C8009D5187E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60024" y="4415247"/>
            <a:ext cx="2952836" cy="1660970"/>
          </a:xfrm>
          <a:prstGeom prst="rect">
            <a:avLst/>
          </a:prstGeom>
        </p:spPr>
      </p:pic>
      <p:pic>
        <p:nvPicPr>
          <p:cNvPr id="19" name="Image 18" descr="Une image contenant sport, personne, tennis, plein air&#10;&#10;Le contenu généré par l’IA peut être incorrect.">
            <a:extLst>
              <a:ext uri="{FF2B5EF4-FFF2-40B4-BE49-F238E27FC236}">
                <a16:creationId xmlns:a16="http://schemas.microsoft.com/office/drawing/2014/main" id="{EC69B89B-1FAB-C984-AC2E-883B741639C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10819" y="1058877"/>
            <a:ext cx="1895512" cy="2369389"/>
          </a:xfrm>
          <a:prstGeom prst="rect">
            <a:avLst/>
          </a:prstGeom>
        </p:spPr>
      </p:pic>
      <p:pic>
        <p:nvPicPr>
          <p:cNvPr id="21" name="Image 20" descr="Une image contenant sport, natation, eau, Bonnet de bain&#10;&#10;Le contenu généré par l’IA peut être incorrect.">
            <a:extLst>
              <a:ext uri="{FF2B5EF4-FFF2-40B4-BE49-F238E27FC236}">
                <a16:creationId xmlns:a16="http://schemas.microsoft.com/office/drawing/2014/main" id="{24A61B39-CA5E-76B4-01A5-F7DFB267EF6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72068" y="2116195"/>
            <a:ext cx="3447288" cy="1939099"/>
          </a:xfrm>
          <a:prstGeom prst="rect">
            <a:avLst/>
          </a:prstGeom>
        </p:spPr>
      </p:pic>
      <p:pic>
        <p:nvPicPr>
          <p:cNvPr id="27" name="Image 26" descr="Une image contenant texte, Police, capture d’écran, Graphique&#10;&#10;Le contenu généré par l’IA peut être incorrect.">
            <a:extLst>
              <a:ext uri="{FF2B5EF4-FFF2-40B4-BE49-F238E27FC236}">
                <a16:creationId xmlns:a16="http://schemas.microsoft.com/office/drawing/2014/main" id="{DC6DE50C-FA64-EF74-4090-7C450CD0330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7989" y="4517631"/>
            <a:ext cx="2952837" cy="1660972"/>
          </a:xfrm>
          <a:prstGeom prst="rect">
            <a:avLst/>
          </a:prstGeom>
        </p:spPr>
      </p:pic>
      <p:sp>
        <p:nvSpPr>
          <p:cNvPr id="32" name="ZoneTexte 31">
            <a:extLst>
              <a:ext uri="{FF2B5EF4-FFF2-40B4-BE49-F238E27FC236}">
                <a16:creationId xmlns:a16="http://schemas.microsoft.com/office/drawing/2014/main" id="{CBD0E564-68F2-7ACA-C7EF-ADF9B5A2FC48}"/>
              </a:ext>
            </a:extLst>
          </p:cNvPr>
          <p:cNvSpPr txBox="1"/>
          <p:nvPr/>
        </p:nvSpPr>
        <p:spPr>
          <a:xfrm>
            <a:off x="4369640" y="4061028"/>
            <a:ext cx="3447287" cy="461665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>
              <a:defRPr/>
            </a:pPr>
            <a:r>
              <a:rPr kumimoji="0" lang="fr-FR" sz="1200" b="1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Canal+"/>
                <a:ea typeface="+mn-ea"/>
                <a:cs typeface="+mn-cs"/>
              </a:rPr>
              <a:t>PRIM</a:t>
            </a:r>
            <a:r>
              <a:rPr lang="fr-FR" sz="1200" b="1" dirty="0">
                <a:solidFill>
                  <a:srgbClr val="00B050"/>
                </a:solidFill>
              </a:rPr>
              <a:t>É</a:t>
            </a:r>
            <a:r>
              <a:rPr kumimoji="0" lang="fr-FR" sz="1200" b="1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Canal+"/>
                <a:ea typeface="+mn-ea"/>
                <a:cs typeface="+mn-cs"/>
              </a:rPr>
              <a:t> EN 2025 </a:t>
            </a:r>
            <a:r>
              <a:rPr lang="fr-FR" sz="1200" b="1" dirty="0">
                <a:solidFill>
                  <a:srgbClr val="00B050"/>
                </a:solidFill>
                <a:latin typeface="Canal+"/>
              </a:rPr>
              <a:t>AU SPORTEL</a:t>
            </a:r>
            <a:r>
              <a:rPr kumimoji="0" lang="fr-FR" sz="1200" b="1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Canal+"/>
                <a:ea typeface="+mn-ea"/>
                <a:cs typeface="+mn-cs"/>
              </a:rPr>
              <a:t> AWARD </a:t>
            </a:r>
            <a:r>
              <a:rPr lang="fr-FR" sz="1200" b="1" dirty="0">
                <a:solidFill>
                  <a:srgbClr val="00B050"/>
                </a:solidFill>
                <a:latin typeface="Canal+"/>
              </a:rPr>
              <a:t>ET </a:t>
            </a:r>
            <a:r>
              <a:rPr kumimoji="0" lang="fr-FR" sz="1200" b="1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Canal+"/>
                <a:ea typeface="+mn-ea"/>
                <a:cs typeface="+mn-cs"/>
              </a:rPr>
              <a:t>LES SPORTIVES EN LUMIERE</a:t>
            </a:r>
            <a:endParaRPr lang="fr-FR" sz="1600" dirty="0">
              <a:ea typeface="+mn-ea"/>
              <a:cs typeface="+mn-cs"/>
            </a:endParaRPr>
          </a:p>
        </p:txBody>
      </p:sp>
      <p:sp>
        <p:nvSpPr>
          <p:cNvPr id="33" name="ZoneTexte 32">
            <a:extLst>
              <a:ext uri="{FF2B5EF4-FFF2-40B4-BE49-F238E27FC236}">
                <a16:creationId xmlns:a16="http://schemas.microsoft.com/office/drawing/2014/main" id="{4C2C7BE5-1C16-6F26-A0B7-04676EAF2EAA}"/>
              </a:ext>
            </a:extLst>
          </p:cNvPr>
          <p:cNvSpPr txBox="1"/>
          <p:nvPr/>
        </p:nvSpPr>
        <p:spPr>
          <a:xfrm>
            <a:off x="8723733" y="3532956"/>
            <a:ext cx="3154180" cy="461665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lvl="0">
              <a:defRPr/>
            </a:pPr>
            <a:r>
              <a:rPr kumimoji="0" lang="fr-FR" sz="1200" b="1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Canal+"/>
                <a:ea typeface="+mn-ea"/>
                <a:cs typeface="+mn-cs"/>
              </a:rPr>
              <a:t>PRIM</a:t>
            </a:r>
            <a:r>
              <a:rPr lang="fr-FR" sz="1200" b="1" dirty="0">
                <a:solidFill>
                  <a:srgbClr val="00B050"/>
                </a:solidFill>
              </a:rPr>
              <a:t>É</a:t>
            </a:r>
            <a:r>
              <a:rPr kumimoji="0" lang="fr-FR" sz="1200" b="1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Canal+"/>
                <a:ea typeface="+mn-ea"/>
                <a:cs typeface="+mn-cs"/>
              </a:rPr>
              <a:t> AUX MICROS D’OR ET LES SPORTIVES EN LUMIERE 2025</a:t>
            </a:r>
            <a:endParaRPr lang="fr-FR" sz="1600" dirty="0">
              <a:ea typeface="+mn-ea"/>
              <a:cs typeface="+mn-cs"/>
            </a:endParaRPr>
          </a:p>
        </p:txBody>
      </p:sp>
      <p:sp>
        <p:nvSpPr>
          <p:cNvPr id="36" name="ZoneTexte 35">
            <a:extLst>
              <a:ext uri="{FF2B5EF4-FFF2-40B4-BE49-F238E27FC236}">
                <a16:creationId xmlns:a16="http://schemas.microsoft.com/office/drawing/2014/main" id="{A28FE454-A293-9522-82EE-DBB7F0BF8BFE}"/>
              </a:ext>
            </a:extLst>
          </p:cNvPr>
          <p:cNvSpPr txBox="1"/>
          <p:nvPr/>
        </p:nvSpPr>
        <p:spPr>
          <a:xfrm>
            <a:off x="8482240" y="6180907"/>
            <a:ext cx="2925588" cy="461665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lvl="0">
              <a:defRPr/>
            </a:pPr>
            <a:r>
              <a:rPr kumimoji="0" lang="fr-FR" sz="1200" b="1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Canal+"/>
                <a:ea typeface="+mn-ea"/>
                <a:cs typeface="+mn-cs"/>
              </a:rPr>
              <a:t>PRIM</a:t>
            </a:r>
            <a:r>
              <a:rPr lang="fr-FR" sz="1200" b="1" dirty="0">
                <a:solidFill>
                  <a:srgbClr val="00B050"/>
                </a:solidFill>
                <a:latin typeface="+mj-lt"/>
              </a:rPr>
              <a:t>É</a:t>
            </a:r>
            <a:r>
              <a:rPr kumimoji="0" lang="fr-FR" sz="1200" b="1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Canal+"/>
                <a:ea typeface="+mn-ea"/>
                <a:cs typeface="+mn-cs"/>
              </a:rPr>
              <a:t> AU DOC FESTIVAL DE DEAUVILLE 2025</a:t>
            </a:r>
            <a:endParaRPr lang="fr-FR" sz="1600" dirty="0">
              <a:ea typeface="+mn-ea"/>
              <a:cs typeface="+mn-cs"/>
            </a:endParaRPr>
          </a:p>
        </p:txBody>
      </p:sp>
      <p:sp>
        <p:nvSpPr>
          <p:cNvPr id="37" name="ZoneTexte 36">
            <a:extLst>
              <a:ext uri="{FF2B5EF4-FFF2-40B4-BE49-F238E27FC236}">
                <a16:creationId xmlns:a16="http://schemas.microsoft.com/office/drawing/2014/main" id="{B5A4AC9D-1A41-97B3-F9B7-2373D6101854}"/>
              </a:ext>
            </a:extLst>
          </p:cNvPr>
          <p:cNvSpPr txBox="1"/>
          <p:nvPr/>
        </p:nvSpPr>
        <p:spPr>
          <a:xfrm>
            <a:off x="957416" y="3793645"/>
            <a:ext cx="2736427" cy="461665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lvl="0">
              <a:defRPr/>
            </a:pPr>
            <a:r>
              <a:rPr kumimoji="0" lang="fr-FR" sz="1200" b="1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Canal+"/>
                <a:ea typeface="+mn-ea"/>
                <a:cs typeface="+mn-cs"/>
              </a:rPr>
              <a:t>PRIM</a:t>
            </a:r>
            <a:r>
              <a:rPr lang="fr-FR" sz="1200" b="1" dirty="0">
                <a:solidFill>
                  <a:srgbClr val="00B050"/>
                </a:solidFill>
              </a:rPr>
              <a:t>É </a:t>
            </a:r>
            <a:r>
              <a:rPr kumimoji="0" lang="fr-FR" sz="1200" b="1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Canal+"/>
                <a:ea typeface="+mn-ea"/>
                <a:cs typeface="+mn-cs"/>
              </a:rPr>
              <a:t>AUX MICROS D’OR ET SPORTEL AWARDS 2024</a:t>
            </a:r>
            <a:endParaRPr lang="fr-FR" sz="1200" b="1" dirty="0"/>
          </a:p>
        </p:txBody>
      </p:sp>
      <p:sp>
        <p:nvSpPr>
          <p:cNvPr id="4" name="ZoneTexte 3">
            <a:extLst>
              <a:ext uri="{FF2B5EF4-FFF2-40B4-BE49-F238E27FC236}">
                <a16:creationId xmlns:a16="http://schemas.microsoft.com/office/drawing/2014/main" id="{753380C6-9116-3F1F-7601-C53570F3F833}"/>
              </a:ext>
            </a:extLst>
          </p:cNvPr>
          <p:cNvSpPr txBox="1"/>
          <p:nvPr/>
        </p:nvSpPr>
        <p:spPr>
          <a:xfrm>
            <a:off x="552197" y="6178603"/>
            <a:ext cx="3542752" cy="461665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>
              <a:defRPr/>
            </a:pPr>
            <a:r>
              <a:rPr lang="fr-FR" sz="1200" b="1" dirty="0">
                <a:solidFill>
                  <a:srgbClr val="00B050"/>
                </a:solidFill>
                <a:latin typeface="Canal+"/>
              </a:rPr>
              <a:t>PRIX DE LA DIVERSITÉ ET DE L’INCLUSION AU MULTI SCREEN</a:t>
            </a:r>
            <a:r>
              <a:rPr kumimoji="0" lang="fr-FR" sz="1200" b="1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Canal+"/>
                <a:ea typeface="+mn-ea"/>
                <a:cs typeface="+mn-cs"/>
              </a:rPr>
              <a:t> 2025</a:t>
            </a:r>
            <a:endParaRPr lang="fr-FR" sz="1600" dirty="0"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711570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CEB32D0-94D2-5218-561C-C50E938D0AF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504CDCD1-10D7-FC1E-F980-2E2AE6711C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08525" y="1470631"/>
            <a:ext cx="8574950" cy="692497"/>
          </a:xfrm>
        </p:spPr>
        <p:txBody>
          <a:bodyPr/>
          <a:lstStyle/>
          <a:p>
            <a:pPr algn="ctr"/>
            <a:r>
              <a:rPr lang="fr-FR" dirty="0">
                <a:solidFill>
                  <a:srgbClr val="00B050"/>
                </a:solidFill>
              </a:rPr>
              <a:t>Message K. </a:t>
            </a:r>
            <a:r>
              <a:rPr lang="fr-FR" dirty="0" err="1">
                <a:solidFill>
                  <a:srgbClr val="00B050"/>
                </a:solidFill>
              </a:rPr>
              <a:t>chasteau</a:t>
            </a:r>
            <a:endParaRPr lang="fr-FR" dirty="0">
              <a:solidFill>
                <a:srgbClr val="00B050"/>
              </a:solidFill>
            </a:endParaRP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679EBE85-346A-CB1C-E426-055EFAE952B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8D264C89-0087-B076-E6AE-F9FE2FA3017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B2AA603C-010B-2985-9314-4CF07EECAC2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68864ABD-8EAF-1388-20CA-2ED99CA10E9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C62681C8-6B90-F9C2-A8EF-DF28C2B97F7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fr-FR"/>
          </a:p>
        </p:txBody>
      </p:sp>
      <p:pic>
        <p:nvPicPr>
          <p:cNvPr id="11" name="Vidéo 10">
            <a:hlinkClick r:id="" action="ppaction://media"/>
            <a:extLst>
              <a:ext uri="{FF2B5EF4-FFF2-40B4-BE49-F238E27FC236}">
                <a16:creationId xmlns:a16="http://schemas.microsoft.com/office/drawing/2014/main" id="{6E24F3D9-2A94-0A23-F6F5-4A1C9ACD3DE4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2865437" y="2410938"/>
            <a:ext cx="6461125" cy="3657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551333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46541" fill="hold"/>
                                        <p:tgtEl>
                                          <p:spTgt spid="11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100000">
                <p:cTn id="7" repeatCount="indefinite" fill="hold" display="0">
                  <p:stCondLst>
                    <p:cond delay="indefinite"/>
                  </p:stCondLst>
                </p:cTn>
                <p:tgtEl>
                  <p:spTgt spid="11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11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11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1"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0A3F5E2-AD26-0657-D784-60F1E9F96B1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8F32074E-3E9A-54B1-5347-08D5C43C704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58327" y="395887"/>
            <a:ext cx="2778157" cy="500963"/>
          </a:xfrm>
        </p:spPr>
        <p:txBody>
          <a:bodyPr/>
          <a:lstStyle/>
          <a:p>
            <a:endParaRPr lang="fr-FR" dirty="0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A772C9D5-685F-3166-F652-32EAAB9F51B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9853" y="4740536"/>
            <a:ext cx="1040415" cy="981534"/>
          </a:xfrm>
        </p:spPr>
        <p:txBody>
          <a:bodyPr/>
          <a:lstStyle/>
          <a:p>
            <a:endParaRPr lang="fr-FR" dirty="0"/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3FAC972A-5FCA-150B-B4FB-4AA501F3BD2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9982984" y="9427"/>
            <a:ext cx="1006121" cy="1086833"/>
          </a:xfrm>
        </p:spPr>
        <p:txBody>
          <a:bodyPr/>
          <a:lstStyle/>
          <a:p>
            <a:endParaRPr lang="fr-FR" dirty="0"/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F1983CE5-FCB8-2270-77AF-F31E9211790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642E7E59-51C0-835F-5478-44C022F00F9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1069615" y="34956"/>
            <a:ext cx="1107196" cy="1086834"/>
          </a:xfrm>
        </p:spPr>
        <p:txBody>
          <a:bodyPr/>
          <a:lstStyle/>
          <a:p>
            <a:endParaRPr lang="fr-FR" dirty="0"/>
          </a:p>
        </p:txBody>
      </p:sp>
      <p:pic>
        <p:nvPicPr>
          <p:cNvPr id="11" name="Image 10" descr="Une image contenant sport, compétition sportive, habits, chaussures&#10;&#10;Le contenu généré par l’IA peut être incorrect.">
            <a:extLst>
              <a:ext uri="{FF2B5EF4-FFF2-40B4-BE49-F238E27FC236}">
                <a16:creationId xmlns:a16="http://schemas.microsoft.com/office/drawing/2014/main" id="{84DC4DA0-E4FC-F874-45A3-F706D3E978A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74885" y="1423447"/>
            <a:ext cx="7818218" cy="4419465"/>
          </a:xfrm>
          <a:prstGeom prst="rect">
            <a:avLst/>
          </a:prstGeom>
        </p:spPr>
      </p:pic>
      <p:sp>
        <p:nvSpPr>
          <p:cNvPr id="12" name="ZoneTexte 11">
            <a:extLst>
              <a:ext uri="{FF2B5EF4-FFF2-40B4-BE49-F238E27FC236}">
                <a16:creationId xmlns:a16="http://schemas.microsoft.com/office/drawing/2014/main" id="{94CAB406-CB55-0807-9CEF-97C7711C086B}"/>
              </a:ext>
            </a:extLst>
          </p:cNvPr>
          <p:cNvSpPr txBox="1"/>
          <p:nvPr/>
        </p:nvSpPr>
        <p:spPr>
          <a:xfrm>
            <a:off x="2773051" y="5968972"/>
            <a:ext cx="664589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2400" b="1" dirty="0">
                <a:solidFill>
                  <a:schemeClr val="bg1"/>
                </a:solidFill>
              </a:rPr>
              <a:t>DIMANCHE 8 MARS 22H30     CANAL + </a:t>
            </a:r>
          </a:p>
        </p:txBody>
      </p:sp>
      <p:pic>
        <p:nvPicPr>
          <p:cNvPr id="13" name="Image 12">
            <a:extLst>
              <a:ext uri="{FF2B5EF4-FFF2-40B4-BE49-F238E27FC236}">
                <a16:creationId xmlns:a16="http://schemas.microsoft.com/office/drawing/2014/main" id="{98014E7B-7C1B-4B5C-47CF-605A82375FE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74537" y="5322901"/>
            <a:ext cx="701397" cy="7983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772077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hème fond noir">
  <a:themeElements>
    <a:clrScheme name="CANAL fond noir">
      <a:dk1>
        <a:srgbClr val="000000"/>
      </a:dk1>
      <a:lt1>
        <a:srgbClr val="FFFFFF"/>
      </a:lt1>
      <a:dk2>
        <a:srgbClr val="866D4B"/>
      </a:dk2>
      <a:lt2>
        <a:srgbClr val="FFFFFF"/>
      </a:lt2>
      <a:accent1>
        <a:srgbClr val="00D2FF"/>
      </a:accent1>
      <a:accent2>
        <a:srgbClr val="CFEC20"/>
      </a:accent2>
      <a:accent3>
        <a:srgbClr val="FFDB00"/>
      </a:accent3>
      <a:accent4>
        <a:srgbClr val="E1003B"/>
      </a:accent4>
      <a:accent5>
        <a:srgbClr val="C3A4CC"/>
      </a:accent5>
      <a:accent6>
        <a:srgbClr val="FFB300"/>
      </a:accent6>
      <a:hlink>
        <a:srgbClr val="0563C1"/>
      </a:hlink>
      <a:folHlink>
        <a:srgbClr val="954F72"/>
      </a:folHlink>
    </a:clrScheme>
    <a:fontScheme name="00. Canal+">
      <a:majorFont>
        <a:latin typeface="Canal+"/>
        <a:ea typeface=""/>
        <a:cs typeface=""/>
      </a:majorFont>
      <a:minorFont>
        <a:latin typeface="Canal+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Masque_Canal_wip" id="{6B730209-B250-8340-9621-22E74D54EE42}" vid="{896EAEFB-0038-D144-B307-66653B387BA3}"/>
    </a:ext>
  </a:extLst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Metadata/LabelInfo.xml><?xml version="1.0" encoding="utf-8"?>
<clbl:labelList xmlns:clbl="http://schemas.microsoft.com/office/2020/mipLabelMetadata">
  <clbl:label id="{f477af50-4cd9-47ca-8071-541adde5611b}" enabled="1" method="Privileged" siteId="{bf5c5de1-6a54-4091-a72f-90e32801628c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6</TotalTime>
  <Words>141</Words>
  <Application>Microsoft Office PowerPoint</Application>
  <PresentationFormat>Widescreen</PresentationFormat>
  <Paragraphs>32</Paragraphs>
  <Slides>6</Slides>
  <Notes>3</Notes>
  <HiddenSlides>0</HiddenSlides>
  <MMClips>1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3" baseType="lpstr">
      <vt:lpstr>Aptos</vt:lpstr>
      <vt:lpstr>Arial</vt:lpstr>
      <vt:lpstr>Canal+</vt:lpstr>
      <vt:lpstr>Canal+Dem</vt:lpstr>
      <vt:lpstr>Wingdings</vt:lpstr>
      <vt:lpstr>Thème fond noir</vt:lpstr>
      <vt:lpstr>Diapositive think-cell</vt:lpstr>
      <vt:lpstr>Le sport   L’ADN DE canal+ </vt:lpstr>
      <vt:lpstr>PowerPoint Presentation</vt:lpstr>
      <vt:lpstr>PowerPoint Presentation</vt:lpstr>
      <vt:lpstr>PowerPoint Presentation</vt:lpstr>
      <vt:lpstr>Message K. chasteau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HENRY Caroline (Canal Plus)</dc:creator>
  <cp:lastModifiedBy>DOLLET Caroline</cp:lastModifiedBy>
  <cp:revision>229</cp:revision>
  <dcterms:created xsi:type="dcterms:W3CDTF">2026-02-11T13:48:24Z</dcterms:created>
  <dcterms:modified xsi:type="dcterms:W3CDTF">2026-03-04T12:36:5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lassificationContentMarkingFooterLocations">
    <vt:lpwstr>Thème fond noir:4</vt:lpwstr>
  </property>
  <property fmtid="{D5CDD505-2E9C-101B-9397-08002B2CF9AE}" pid="3" name="ClassificationContentMarkingFooterText">
    <vt:lpwstr>Private - This document or email is for personal use only and must not be shared.</vt:lpwstr>
  </property>
</Properties>
</file>